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9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  <p:sldMasterId id="2147483671" r:id="rId3"/>
    <p:sldMasterId id="2147483679" r:id="rId4"/>
    <p:sldMasterId id="2147483687" r:id="rId5"/>
    <p:sldMasterId id="2147483695" r:id="rId6"/>
    <p:sldMasterId id="2147483703" r:id="rId7"/>
    <p:sldMasterId id="2147483711" r:id="rId8"/>
    <p:sldMasterId id="2147483719" r:id="rId9"/>
  </p:sldMasterIdLst>
  <p:notesMasterIdLst>
    <p:notesMasterId r:id="rId49"/>
  </p:notesMasterIdLst>
  <p:sldIdLst>
    <p:sldId id="257" r:id="rId10"/>
    <p:sldId id="276" r:id="rId11"/>
    <p:sldId id="271" r:id="rId12"/>
    <p:sldId id="277" r:id="rId13"/>
    <p:sldId id="258" r:id="rId14"/>
    <p:sldId id="264" r:id="rId15"/>
    <p:sldId id="278" r:id="rId16"/>
    <p:sldId id="260" r:id="rId17"/>
    <p:sldId id="261" r:id="rId18"/>
    <p:sldId id="275" r:id="rId19"/>
    <p:sldId id="279" r:id="rId20"/>
    <p:sldId id="263" r:id="rId21"/>
    <p:sldId id="273" r:id="rId22"/>
    <p:sldId id="280" r:id="rId23"/>
    <p:sldId id="265" r:id="rId24"/>
    <p:sldId id="266" r:id="rId25"/>
    <p:sldId id="274" r:id="rId26"/>
    <p:sldId id="281" r:id="rId27"/>
    <p:sldId id="267" r:id="rId28"/>
    <p:sldId id="268" r:id="rId29"/>
    <p:sldId id="272" r:id="rId30"/>
    <p:sldId id="282" r:id="rId31"/>
    <p:sldId id="269" r:id="rId32"/>
    <p:sldId id="270" r:id="rId33"/>
    <p:sldId id="284" r:id="rId34"/>
    <p:sldId id="285" r:id="rId35"/>
    <p:sldId id="290" r:id="rId36"/>
    <p:sldId id="289" r:id="rId37"/>
    <p:sldId id="291" r:id="rId38"/>
    <p:sldId id="288" r:id="rId39"/>
    <p:sldId id="287" r:id="rId40"/>
    <p:sldId id="286" r:id="rId41"/>
    <p:sldId id="293" r:id="rId42"/>
    <p:sldId id="295" r:id="rId43"/>
    <p:sldId id="294" r:id="rId44"/>
    <p:sldId id="298" r:id="rId45"/>
    <p:sldId id="297" r:id="rId46"/>
    <p:sldId id="296" r:id="rId47"/>
    <p:sldId id="292" r:id="rId4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71" d="100"/>
          <a:sy n="71" d="100"/>
        </p:scale>
        <p:origin x="54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slide" Target="slides/slide3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8" Type="http://schemas.openxmlformats.org/officeDocument/2006/relationships/slideMaster" Target="slideMasters/slideMaster8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64030D-A8AC-4A35-AD73-5793690C0AB8}" type="datetimeFigureOut">
              <a:rPr lang="en-US" smtClean="0"/>
              <a:t>7/20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5F1F7-5ED0-4D9A-9093-0FAF66D755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973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9CA3F4-9250-40A9-9BC1-85EEB6297BA1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9562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9CA3F4-9250-40A9-9BC1-85EEB6297BA1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955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 smtClean="0"/>
              <a:t>Bacon-Wrapped</a:t>
            </a:r>
            <a:r>
              <a:rPr lang="en-US" sz="1800" baseline="0" dirty="0" smtClean="0"/>
              <a:t> </a:t>
            </a:r>
            <a:r>
              <a:rPr lang="en-US" sz="1800" dirty="0" smtClean="0"/>
              <a:t>Pork </a:t>
            </a:r>
            <a:r>
              <a:rPr lang="en-US" sz="1800" dirty="0"/>
              <a:t>Terrine</a:t>
            </a:r>
          </a:p>
          <a:p>
            <a:r>
              <a:rPr lang="en-US" sz="1800" dirty="0" smtClean="0"/>
              <a:t>pickled vegetables, whole-grain mustard, toasted baguette</a:t>
            </a:r>
          </a:p>
          <a:p>
            <a:r>
              <a:rPr lang="en-US" sz="1200" b="1" dirty="0" smtClean="0">
                <a:latin typeface="Calibri" panose="020F0502020204030204" pitchFamily="34" charset="0"/>
              </a:rPr>
              <a:t>Recipe Number - 20-RCP27392</a:t>
            </a:r>
          </a:p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99856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rnesto Chimichurri Burger</a:t>
            </a:r>
          </a:p>
          <a:p>
            <a:r>
              <a:rPr lang="en-US" sz="1200" dirty="0" smtClean="0"/>
              <a:t>sundried tomato, provolone cheese, shredded zucchini slaw, French fries</a:t>
            </a:r>
          </a:p>
          <a:p>
            <a:r>
              <a:rPr lang="en-US" sz="1200" b="1" dirty="0" smtClean="0">
                <a:latin typeface="Calibri" panose="020F0502020204030204" pitchFamily="34" charset="0"/>
              </a:rPr>
              <a:t>Recipe Number - 20-RCP2768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01258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9CA3F4-9250-40A9-9BC1-85EEB6297BA1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3348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1800" dirty="0"/>
              <a:t>CS Tender Sirloin Steak &amp; Mushroom Cobbler</a:t>
            </a:r>
          </a:p>
          <a:p>
            <a:r>
              <a:rPr lang="it-IT" sz="1800" dirty="0"/>
              <a:t>carrots, Gruyere biscuits</a:t>
            </a:r>
            <a:endParaRPr lang="en-US" sz="180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Recipe Number - </a:t>
            </a:r>
            <a:r>
              <a:rPr lang="en-US" sz="1050" b="1" dirty="0" smtClean="0"/>
              <a:t>20-RCP28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5723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Lemon-Rosemary Grilled Cornish Game Hen, Olive-Feta Relish</a:t>
            </a:r>
          </a:p>
          <a:p>
            <a:r>
              <a:rPr lang="en-US" sz="1800" dirty="0"/>
              <a:t>roasted potato and pepp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Recipe Number - </a:t>
            </a:r>
            <a:r>
              <a:rPr lang="en-US" sz="1050" b="1" dirty="0" smtClean="0"/>
              <a:t>20-RCP2558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1329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rnesto Backyard Burger</a:t>
            </a:r>
          </a:p>
          <a:p>
            <a:r>
              <a:rPr lang="en-US" sz="1200" dirty="0" smtClean="0"/>
              <a:t>BBQ glaze, smoked bacon, </a:t>
            </a:r>
            <a:r>
              <a:rPr lang="en-US" sz="1200" dirty="0" err="1" smtClean="0"/>
              <a:t>cotija</a:t>
            </a:r>
            <a:r>
              <a:rPr lang="en-US" sz="1200" dirty="0" smtClean="0"/>
              <a:t> cheese, onion rings &amp; fries</a:t>
            </a:r>
            <a:endParaRPr lang="en-US" b="0" dirty="0" smtClean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latin typeface="Calibri" panose="020F0502020204030204" pitchFamily="34" charset="0"/>
              </a:rPr>
              <a:t>Recipe Number - 20-RCP27677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70948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9CA3F4-9250-40A9-9BC1-85EEB6297BA1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6490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Lime &amp; Salt-Cured Salmon, Citrus Chili Sauce</a:t>
            </a:r>
          </a:p>
          <a:p>
            <a:r>
              <a:rPr lang="en-US" sz="1800" dirty="0"/>
              <a:t>crab and shrimp dill-cucumber salad, crunchy pea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Recipe Number - </a:t>
            </a:r>
            <a:r>
              <a:rPr lang="en-US" sz="1050" b="1" dirty="0" smtClean="0"/>
              <a:t>20-RCP2560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3428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2000" dirty="0" smtClean="0"/>
              <a:t>Lemon Scented Ravioli, Truffle Oil</a:t>
            </a:r>
            <a:br>
              <a:rPr lang="it-IT" sz="2000" dirty="0" smtClean="0"/>
            </a:br>
            <a:r>
              <a:rPr lang="it-IT" sz="1800" dirty="0" smtClean="0"/>
              <a:t>mascarpone, sage vegetable ragout, carrot emulsion</a:t>
            </a:r>
          </a:p>
          <a:p>
            <a:r>
              <a:rPr lang="en-US" sz="1200" b="1" dirty="0" smtClean="0"/>
              <a:t>Recipe Number - </a:t>
            </a:r>
            <a:r>
              <a:rPr lang="en-US" sz="1050" b="1" dirty="0" smtClean="0"/>
              <a:t>20-RCP2766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169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2313BB-0347-4C4A-985D-3F50F0DC0A7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0246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rnesto Burger – Blue Cheese, Port Wine Onions, Arugula Aioli</a:t>
            </a:r>
          </a:p>
          <a:p>
            <a:r>
              <a:rPr lang="en-US" sz="1200" dirty="0" smtClean="0"/>
              <a:t>blue cheese, port wine onions, arugula, aioli</a:t>
            </a:r>
            <a:endParaRPr lang="en-US" b="0" dirty="0" smtClean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latin typeface="Calibri" panose="020F0502020204030204" pitchFamily="34" charset="0"/>
              </a:rPr>
              <a:t>Recipe Number - 20-RCP27678</a:t>
            </a:r>
          </a:p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82474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9CA3F4-9250-40A9-9BC1-85EEB6297BA1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11375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Mariner-Style Black Mussels, White Wine Cream Sauce</a:t>
            </a:r>
          </a:p>
          <a:p>
            <a:r>
              <a:rPr lang="en-US" sz="2400" dirty="0"/>
              <a:t>home-style garlic bread, French fr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Recipe Number - </a:t>
            </a:r>
            <a:r>
              <a:rPr lang="en-US" sz="1050" b="1" dirty="0" smtClean="0"/>
              <a:t>20-RCP20596</a:t>
            </a:r>
          </a:p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81965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Moroccan-style Meatballs</a:t>
            </a:r>
          </a:p>
          <a:p>
            <a:r>
              <a:rPr lang="en-US" sz="2400" dirty="0"/>
              <a:t>soft poached egg, tomato pepper ragout, rice &amp; pea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Recipe Number - </a:t>
            </a:r>
            <a:r>
              <a:rPr lang="en-US" sz="1050" b="1" dirty="0" smtClean="0"/>
              <a:t>20-RCP2757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6187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rnesto Burger – Blue Cheese, Port Wine Onions, Arugula Aioli</a:t>
            </a:r>
          </a:p>
          <a:p>
            <a:r>
              <a:rPr lang="en-US" sz="1200" dirty="0" smtClean="0"/>
              <a:t>blue cheese, port wine onions, arugula, aioli</a:t>
            </a:r>
            <a:endParaRPr lang="en-US" b="0" dirty="0" smtClean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latin typeface="Calibri" panose="020F0502020204030204" pitchFamily="34" charset="0"/>
              </a:rPr>
              <a:t>Recipe Number - 20-RCP27678</a:t>
            </a:r>
          </a:p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9273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9CA3F4-9250-40A9-9BC1-85EEB6297BA1}" type="slidenum">
              <a:rPr lang="en-US" smtClean="0">
                <a:solidFill>
                  <a:prstClr val="black"/>
                </a:solidFill>
              </a:rPr>
              <a:pPr/>
              <a:t>2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4480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Seafood Antipasto*</a:t>
            </a:r>
          </a:p>
          <a:p>
            <a:r>
              <a:rPr lang="en-US" sz="1800" dirty="0"/>
              <a:t>shrimp, squid, black mussels, white balsamic pickled vegetables, olive-red pepper spread</a:t>
            </a:r>
          </a:p>
          <a:p>
            <a:pPr marL="0" indent="0">
              <a:buNone/>
            </a:pPr>
            <a:r>
              <a:rPr lang="en-US" sz="1200" b="1" dirty="0" smtClean="0"/>
              <a:t>Recipe Number</a:t>
            </a:r>
            <a:r>
              <a:rPr lang="en-US" sz="1200" b="1" baseline="0" dirty="0" smtClean="0"/>
              <a:t> - </a:t>
            </a:r>
            <a:r>
              <a:rPr lang="en-US" sz="1050" b="1" dirty="0" smtClean="0"/>
              <a:t>20-RCP2532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27790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Prosciutto and Melon</a:t>
            </a:r>
          </a:p>
          <a:p>
            <a:r>
              <a:rPr lang="en-US" sz="1800" dirty="0"/>
              <a:t>dry-cured ham, chunked cantaloupe</a:t>
            </a:r>
          </a:p>
          <a:p>
            <a:pPr marL="0" indent="0">
              <a:buNone/>
            </a:pPr>
            <a:r>
              <a:rPr lang="en-US" sz="1200" b="1" dirty="0" smtClean="0"/>
              <a:t>Recipe Number</a:t>
            </a:r>
            <a:r>
              <a:rPr lang="en-US" sz="1200" b="1" baseline="0" dirty="0" smtClean="0"/>
              <a:t> - </a:t>
            </a:r>
            <a:r>
              <a:rPr lang="en-US" sz="1050" b="1" dirty="0" smtClean="0"/>
              <a:t>20-RCP2242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4277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1800" dirty="0"/>
              <a:t>Eggplant Parmesan</a:t>
            </a:r>
          </a:p>
          <a:p>
            <a:r>
              <a:rPr lang="it-IT" sz="1800" dirty="0"/>
              <a:t>tomato sauce, mozzarella cheese</a:t>
            </a:r>
            <a:endParaRPr lang="en-US" sz="180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Recipe Number - </a:t>
            </a:r>
            <a:r>
              <a:rPr lang="en-US" sz="1050" b="1" dirty="0" smtClean="0"/>
              <a:t>20-RCP20287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31354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1800" dirty="0"/>
              <a:t>Minestrone Soup</a:t>
            </a:r>
          </a:p>
          <a:p>
            <a:r>
              <a:rPr lang="it-IT" sz="1800" dirty="0"/>
              <a:t>vegetables, </a:t>
            </a:r>
            <a:r>
              <a:rPr lang="it-IT" sz="1800" dirty="0" smtClean="0"/>
              <a:t>pasta</a:t>
            </a:r>
            <a:r>
              <a:rPr lang="it-IT" sz="1800" dirty="0"/>
              <a:t>, basil pesto</a:t>
            </a:r>
            <a:endParaRPr lang="en-US" sz="180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Recipe Number - </a:t>
            </a:r>
            <a:r>
              <a:rPr lang="en-US" sz="1050" b="1" dirty="0" smtClean="0"/>
              <a:t>20-RCP1987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530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9CA3F4-9250-40A9-9BC1-85EEB6297BA1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41968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Iced Peach Bellini Soup</a:t>
            </a:r>
          </a:p>
          <a:p>
            <a:r>
              <a:rPr lang="en-US" sz="1800" dirty="0"/>
              <a:t>peach purée, sparkling Prosecc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Recipe Number - </a:t>
            </a:r>
            <a:r>
              <a:rPr lang="en-US" sz="1050" b="1" dirty="0" smtClean="0"/>
              <a:t>20-RCP19887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14154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Mixed Greens, Baby Spinach, Crisp Bacon, Pecorino Cheese, Pine Nuts</a:t>
            </a:r>
          </a:p>
          <a:p>
            <a:r>
              <a:rPr lang="en-US" sz="1800" dirty="0"/>
              <a:t>choice of dressing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Recipe Number - </a:t>
            </a:r>
            <a:r>
              <a:rPr lang="en-US" sz="1050" b="1" dirty="0" smtClean="0"/>
              <a:t>20-RCP2038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54680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Spaghetti and Meatballs</a:t>
            </a:r>
          </a:p>
          <a:p>
            <a:r>
              <a:rPr lang="en-US" sz="1800" dirty="0"/>
              <a:t>house made fresh tomato sau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Recipe Number - </a:t>
            </a:r>
            <a:r>
              <a:rPr lang="en-US" sz="1050" b="1" dirty="0" smtClean="0"/>
              <a:t>20-RCP1996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7447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Filet of Grilled Salmon Caponata</a:t>
            </a:r>
          </a:p>
          <a:p>
            <a:r>
              <a:rPr lang="en-US" sz="1800" dirty="0"/>
              <a:t>Swiss chard, saffron-infused potato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Recipe Number - </a:t>
            </a:r>
            <a:r>
              <a:rPr lang="en-US" sz="1050" b="1" dirty="0" smtClean="0"/>
              <a:t>20-RCP2770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28906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Seared Sea Scallops and Shrimp, Garlic and Herbs</a:t>
            </a:r>
          </a:p>
          <a:p>
            <a:r>
              <a:rPr lang="en-US" sz="1800" dirty="0"/>
              <a:t>mixed vegetables, crushed potat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Recipe Number - </a:t>
            </a:r>
            <a:r>
              <a:rPr lang="en-US" sz="1050" b="1" dirty="0" smtClean="0"/>
              <a:t>20-RCP2738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42808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Veal Scaloppini, Marsala Wine Sauce</a:t>
            </a:r>
          </a:p>
          <a:p>
            <a:r>
              <a:rPr lang="en-US" sz="1800" dirty="0"/>
              <a:t>green beans, cherry tomatoes, creamy mashed potato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Recipe Number - </a:t>
            </a:r>
            <a:r>
              <a:rPr lang="en-US" sz="1050" b="1" dirty="0" smtClean="0"/>
              <a:t>20-RCP2735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434047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Breaded Chicken Breast, Prosecco </a:t>
            </a:r>
            <a:r>
              <a:rPr lang="en-US" sz="1800" dirty="0" smtClean="0"/>
              <a:t>Radicchio </a:t>
            </a:r>
            <a:r>
              <a:rPr lang="en-US" sz="1800" dirty="0"/>
              <a:t>Cream</a:t>
            </a:r>
          </a:p>
          <a:p>
            <a:r>
              <a:rPr lang="it-IT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uffed with Fontina cheese, spinach, 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shrooms, grilled asparagus, roasted potato cubes </a:t>
            </a:r>
          </a:p>
          <a:p>
            <a:r>
              <a:rPr lang="en-US" sz="1200" b="1" dirty="0" smtClean="0"/>
              <a:t>Recipe Number - </a:t>
            </a:r>
            <a:r>
              <a:rPr lang="en-US" sz="1050" b="1" dirty="0" smtClean="0"/>
              <a:t>20-RCP2749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808135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Breaded Chicken Breast, Prosecco </a:t>
            </a:r>
            <a:r>
              <a:rPr lang="en-US" sz="1800" dirty="0" smtClean="0"/>
              <a:t>Radicchio </a:t>
            </a:r>
            <a:r>
              <a:rPr lang="en-US" sz="1800" dirty="0"/>
              <a:t>Cream</a:t>
            </a:r>
          </a:p>
          <a:p>
            <a:r>
              <a:rPr lang="it-IT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uffed with Fontina cheese, spinach, 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shrooms, grilled asparagus, roasted potato cubes </a:t>
            </a:r>
          </a:p>
          <a:p>
            <a:r>
              <a:rPr lang="en-US" sz="1200" b="1" dirty="0" smtClean="0"/>
              <a:t>Recipe Number - </a:t>
            </a:r>
            <a:r>
              <a:rPr lang="en-US" sz="1050" b="1" dirty="0" smtClean="0"/>
              <a:t>20-RCP2749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5251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Cannellini Bean &amp; Vegetable Stew</a:t>
            </a:r>
          </a:p>
          <a:p>
            <a:r>
              <a:rPr lang="en-US" sz="1800" dirty="0"/>
              <a:t>herb scented polent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Recipe Number - </a:t>
            </a:r>
            <a:r>
              <a:rPr lang="en-US" sz="1050" b="1" dirty="0" smtClean="0"/>
              <a:t>20-RCP2764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0783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dirty="0"/>
              <a:t>Seared Basa Filet, Pineapple-Mango Salsa</a:t>
            </a:r>
          </a:p>
          <a:p>
            <a:r>
              <a:rPr lang="en-US" sz="1400" dirty="0"/>
              <a:t>island vegetable casserole, basil-infused quinoa pilaf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latin typeface="Calibri" panose="020F0502020204030204" pitchFamily="34" charset="0"/>
              </a:rPr>
              <a:t>Recipe Number - 20-RCP2726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0853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CS Appetizer - Steamed Mussels with Chorizo and White Win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Recipe Number - </a:t>
            </a:r>
            <a:r>
              <a:rPr lang="en-US" sz="1050" b="1" dirty="0" smtClean="0"/>
              <a:t>20-RCP27905</a:t>
            </a:r>
          </a:p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9535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9CA3F4-9250-40A9-9BC1-85EEB6297BA1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5987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Rum Tapioca Fruit Salad</a:t>
            </a:r>
          </a:p>
          <a:p>
            <a:r>
              <a:rPr lang="en-US" sz="1800" dirty="0"/>
              <a:t>orange, pineapple, mango, strawberry, toasted coconu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latin typeface="Calibri" panose="020F0502020204030204" pitchFamily="34" charset="0"/>
              </a:rPr>
              <a:t>Recipe Number - </a:t>
            </a:r>
            <a:r>
              <a:rPr lang="en-US" sz="1050" b="1" dirty="0" smtClean="0">
                <a:latin typeface="Calibri" panose="020F0502020204030204" pitchFamily="34" charset="0"/>
              </a:rPr>
              <a:t>20-RCP2762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7912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Chilled Sweet Pea, Potato Soup (v)</a:t>
            </a:r>
          </a:p>
          <a:p>
            <a:r>
              <a:rPr lang="en-US" sz="1800" dirty="0" smtClean="0"/>
              <a:t>fresh </a:t>
            </a:r>
            <a:r>
              <a:rPr lang="en-US" sz="1800" dirty="0"/>
              <a:t>tomato, mini cheese bacon biscui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latin typeface="Calibri" panose="020F0502020204030204" pitchFamily="34" charset="0"/>
              </a:rPr>
              <a:t>Recipe Number - </a:t>
            </a:r>
            <a:r>
              <a:rPr lang="en-US" sz="1050" b="1" dirty="0" smtClean="0">
                <a:latin typeface="Calibri" panose="020F0502020204030204" pitchFamily="34" charset="0"/>
              </a:rPr>
              <a:t>20-RCP2775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0481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rnesto</a:t>
            </a:r>
            <a:r>
              <a:rPr lang="en-US" baseline="0" dirty="0" smtClean="0"/>
              <a:t> Burger – Avocado, Roasted Green Chiles, Provolone</a:t>
            </a:r>
            <a:endParaRPr lang="en-US" dirty="0" smtClean="0"/>
          </a:p>
          <a:p>
            <a:r>
              <a:rPr lang="en-US" b="0" dirty="0" smtClean="0"/>
              <a:t>house Cajun spice rub, beef gravy, grilled tomato, roasted potato medle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latin typeface="Calibri" panose="020F0502020204030204" pitchFamily="34" charset="0"/>
              </a:rPr>
              <a:t>Recipe Number - 20-RCP2767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C409A-5F22-4658-9219-EF148521CFB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1915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AAFF8-7E50-4C54-928A-8AA64EA6B8C2}" type="datetimeFigureOut">
              <a:rPr lang="en-US" smtClean="0"/>
              <a:t>7/2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306DE-743B-4CFF-8D3B-A762D9B568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3486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AAFF8-7E50-4C54-928A-8AA64EA6B8C2}" type="datetimeFigureOut">
              <a:rPr lang="en-US" smtClean="0"/>
              <a:t>7/2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306DE-743B-4CFF-8D3B-A762D9B568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8084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AAFF8-7E50-4C54-928A-8AA64EA6B8C2}" type="datetimeFigureOut">
              <a:rPr lang="en-US" smtClean="0"/>
              <a:t>7/2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306DE-743B-4CFF-8D3B-A762D9B568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5763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PCL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754" y="0"/>
            <a:ext cx="12183246" cy="68470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/>
            <a:endParaRPr lang="en-US" sz="2400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 t="10001" r="-68" b="20676"/>
          <a:stretch/>
        </p:blipFill>
        <p:spPr>
          <a:xfrm>
            <a:off x="8754" y="-16476"/>
            <a:ext cx="12192000" cy="42260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8000" y="4352398"/>
            <a:ext cx="11303001" cy="1460500"/>
          </a:xfrm>
          <a:prstGeom prst="rect">
            <a:avLst/>
          </a:prstGeom>
        </p:spPr>
        <p:txBody>
          <a:bodyPr lIns="57150" tIns="28575" rIns="57150" bIns="28575" anchor="b"/>
          <a:lstStyle>
            <a:lvl1pPr algn="ctr">
              <a:defRPr b="0">
                <a:solidFill>
                  <a:srgbClr val="0070AF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8000" y="5876398"/>
            <a:ext cx="11303001" cy="473604"/>
          </a:xfrm>
          <a:prstGeom prst="rect">
            <a:avLst/>
          </a:prstGeom>
        </p:spPr>
        <p:txBody>
          <a:bodyPr lIns="57150" tIns="28575" rIns="57150" bIns="28575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004646" y="0"/>
            <a:ext cx="2176137" cy="1243469"/>
            <a:chOff x="6119075" y="0"/>
            <a:chExt cx="2402752" cy="1372958"/>
          </a:xfrm>
        </p:grpSpPr>
        <p:sp>
          <p:nvSpPr>
            <p:cNvPr id="21" name="Chevron 20"/>
            <p:cNvSpPr/>
            <p:nvPr userDrawn="1"/>
          </p:nvSpPr>
          <p:spPr>
            <a:xfrm rot="16200000">
              <a:off x="6825150" y="-323717"/>
              <a:ext cx="990600" cy="2402750"/>
            </a:xfrm>
            <a:prstGeom prst="chevron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6119077" y="0"/>
              <a:ext cx="2402750" cy="877659"/>
            </a:xfrm>
            <a:prstGeom prst="rect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16259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74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189" y="16677"/>
            <a:ext cx="10969214" cy="101188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half" idx="2"/>
          </p:nvPr>
        </p:nvSpPr>
        <p:spPr>
          <a:xfrm>
            <a:off x="8185521" y="1200727"/>
            <a:ext cx="3981851" cy="539919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8163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Arial" pitchFamily="34" charset="0"/>
              <a:buNone/>
              <a:tabLst/>
              <a:defRPr sz="1333" u="none" baseline="0">
                <a:solidFill>
                  <a:srgbClr val="000000"/>
                </a:solidFill>
                <a:latin typeface="+mn-lt"/>
              </a:defRPr>
            </a:lvl1pPr>
          </a:lstStyle>
          <a:p>
            <a:pPr marL="0" indent="0" algn="ctr">
              <a:buNone/>
            </a:pPr>
            <a:endParaRPr lang="en-US" sz="1351" dirty="0"/>
          </a:p>
        </p:txBody>
      </p:sp>
      <p:sp>
        <p:nvSpPr>
          <p:cNvPr id="4" name="AutoShape 4" descr="https://portholes.princess.com/sites/default/files/princess_templates_logos/download/Princess_Cruises_Brandmark_Black_2016.jpg"/>
          <p:cNvSpPr>
            <a:spLocks noChangeAspect="1" noChangeArrowheads="1"/>
          </p:cNvSpPr>
          <p:nvPr userDrawn="1"/>
        </p:nvSpPr>
        <p:spPr bwMode="auto">
          <a:xfrm>
            <a:off x="276578" y="-192617"/>
            <a:ext cx="541867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02306" y="6352467"/>
            <a:ext cx="1137920" cy="379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3820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084">
          <p15:clr>
            <a:srgbClr val="FBAE40"/>
          </p15:clr>
        </p15:guide>
        <p15:guide id="2" pos="356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CL_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38100" rIns="76200" bIns="38100" rtlCol="0" anchor="ctr"/>
          <a:lstStyle/>
          <a:p>
            <a:pPr algn="ctr"/>
            <a:endParaRPr lang="en-US" sz="2400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" y="1499616"/>
            <a:ext cx="10972800" cy="4669536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spcBef>
                <a:spcPts val="0"/>
              </a:spcBef>
              <a:spcAft>
                <a:spcPts val="1600"/>
              </a:spcAft>
              <a:buClr>
                <a:srgbClr val="0070AF"/>
              </a:buClr>
              <a:defRPr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0"/>
              </a:spcBef>
              <a:spcAft>
                <a:spcPts val="1600"/>
              </a:spcAft>
              <a:buClr>
                <a:srgbClr val="0070AF"/>
              </a:buClr>
              <a:defRPr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0"/>
              </a:spcBef>
              <a:spcAft>
                <a:spcPts val="1600"/>
              </a:spcAft>
              <a:buClr>
                <a:srgbClr val="0070AF"/>
              </a:buClr>
              <a:defRPr>
                <a:solidFill>
                  <a:schemeClr val="tx1"/>
                </a:solidFill>
                <a:latin typeface="+mn-lt"/>
              </a:defRPr>
            </a:lvl3pPr>
            <a:lvl4pPr>
              <a:spcBef>
                <a:spcPts val="0"/>
              </a:spcBef>
              <a:spcAft>
                <a:spcPts val="1600"/>
              </a:spcAft>
              <a:buClr>
                <a:srgbClr val="0070AF"/>
              </a:buClr>
              <a:defRPr>
                <a:solidFill>
                  <a:schemeClr val="tx1"/>
                </a:solidFill>
                <a:latin typeface="+mn-lt"/>
              </a:defRPr>
            </a:lvl4pPr>
            <a:lvl5pPr>
              <a:spcBef>
                <a:spcPts val="0"/>
              </a:spcBef>
              <a:spcAft>
                <a:spcPts val="1600"/>
              </a:spcAft>
              <a:buClr>
                <a:srgbClr val="0070AF"/>
              </a:buCl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Title 7"/>
          <p:cNvSpPr>
            <a:spLocks noGrp="1"/>
          </p:cNvSpPr>
          <p:nvPr>
            <p:ph type="title"/>
          </p:nvPr>
        </p:nvSpPr>
        <p:spPr>
          <a:xfrm>
            <a:off x="609600" y="182880"/>
            <a:ext cx="10972800" cy="101092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 sz="5333">
                <a:solidFill>
                  <a:srgbClr val="0070AF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0" y="6194493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38100" rIns="76200" bIns="38100" rtlCol="0" anchor="ctr"/>
          <a:lstStyle/>
          <a:p>
            <a:pPr algn="ctr"/>
            <a:endParaRPr lang="en-US" sz="2400" dirty="0"/>
          </a:p>
        </p:txBody>
      </p:sp>
      <p:sp>
        <p:nvSpPr>
          <p:cNvPr id="24" name="Oval 23"/>
          <p:cNvSpPr/>
          <p:nvPr userDrawn="1"/>
        </p:nvSpPr>
        <p:spPr>
          <a:xfrm>
            <a:off x="11557001" y="6330294"/>
            <a:ext cx="420415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38100" rIns="76200" bIns="38100" rtlCol="0" anchor="ctr"/>
          <a:lstStyle/>
          <a:p>
            <a:pPr algn="ctr"/>
            <a:endParaRPr lang="en-US" sz="2400" dirty="0"/>
          </a:p>
        </p:txBody>
      </p:sp>
      <p:sp>
        <p:nvSpPr>
          <p:cNvPr id="2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1" y="6403209"/>
            <a:ext cx="420415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1333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4318D29D-AAC0-4C27-B9BE-B09295871DA1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98683"/>
            <a:ext cx="1828800" cy="469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83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CL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754" y="0"/>
            <a:ext cx="12183246" cy="68470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 t="10001" r="-68" b="20676"/>
          <a:stretch/>
        </p:blipFill>
        <p:spPr>
          <a:xfrm>
            <a:off x="8754" y="-16476"/>
            <a:ext cx="12192000" cy="42260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8000" y="4352398"/>
            <a:ext cx="11303001" cy="1460500"/>
          </a:xfrm>
          <a:prstGeom prst="rect">
            <a:avLst/>
          </a:prstGeom>
        </p:spPr>
        <p:txBody>
          <a:bodyPr lIns="57150" tIns="28575" rIns="57150" bIns="28575" anchor="b"/>
          <a:lstStyle>
            <a:lvl1pPr algn="ctr">
              <a:defRPr b="0">
                <a:solidFill>
                  <a:srgbClr val="0070AF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8000" y="5876398"/>
            <a:ext cx="11303001" cy="473604"/>
          </a:xfrm>
          <a:prstGeom prst="rect">
            <a:avLst/>
          </a:prstGeom>
        </p:spPr>
        <p:txBody>
          <a:bodyPr lIns="57150" tIns="28575" rIns="57150" bIns="28575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004646" y="0"/>
            <a:ext cx="2176137" cy="1243469"/>
            <a:chOff x="6119075" y="0"/>
            <a:chExt cx="2402752" cy="1372958"/>
          </a:xfrm>
        </p:grpSpPr>
        <p:sp>
          <p:nvSpPr>
            <p:cNvPr id="21" name="Chevron 20"/>
            <p:cNvSpPr/>
            <p:nvPr userDrawn="1"/>
          </p:nvSpPr>
          <p:spPr>
            <a:xfrm rot="16200000">
              <a:off x="6825150" y="-323717"/>
              <a:ext cx="990600" cy="2402750"/>
            </a:xfrm>
            <a:prstGeom prst="chevron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5F5F5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6119077" y="0"/>
              <a:ext cx="2402750" cy="877659"/>
            </a:xfrm>
            <a:prstGeom prst="rect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16259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36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" y="1499616"/>
            <a:ext cx="10972800" cy="4669536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buClr>
                <a:srgbClr val="0070AF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70AF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70AF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70AF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70AF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182880"/>
            <a:ext cx="10972800" cy="12192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155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1" y="177800"/>
            <a:ext cx="11049001" cy="8128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609601" y="990600"/>
            <a:ext cx="10947401" cy="40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113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1" y="177800"/>
            <a:ext cx="11049001" cy="8128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19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AF"/>
              </a:buClr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2" y="1841500"/>
            <a:ext cx="5524500" cy="4191000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buClr>
                <a:srgbClr val="0070AF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70AF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70AF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70AF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70AF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2" y="275167"/>
            <a:ext cx="5524500" cy="1439333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5842000" cy="6223000"/>
          </a:xfrm>
          <a:prstGeom prst="rect">
            <a:avLst/>
          </a:prstGeom>
        </p:spPr>
        <p:txBody>
          <a:bodyPr lIns="57150" tIns="28575" rIns="57150" bIns="28575"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04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AAFF8-7E50-4C54-928A-8AA64EA6B8C2}" type="datetimeFigureOut">
              <a:rPr lang="en-US" smtClean="0"/>
              <a:t>7/2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306DE-743B-4CFF-8D3B-A762D9B568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7228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CL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4889502"/>
            <a:ext cx="12192000" cy="1968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1" name="Freeform 6"/>
          <p:cNvSpPr/>
          <p:nvPr/>
        </p:nvSpPr>
        <p:spPr bwMode="auto">
          <a:xfrm>
            <a:off x="0" y="-3174"/>
            <a:ext cx="12192000" cy="5203825"/>
          </a:xfrm>
          <a:custGeom>
            <a:avLst/>
            <a:gdLst/>
            <a:ahLst/>
            <a:cxnLst/>
            <a:rect l="0" t="0" r="r" b="b"/>
            <a:pathLst>
              <a:path w="5760" h="3278">
                <a:moveTo>
                  <a:pt x="5760" y="0"/>
                </a:moveTo>
                <a:lnTo>
                  <a:pt x="0" y="0"/>
                </a:lnTo>
                <a:lnTo>
                  <a:pt x="0" y="3090"/>
                </a:lnTo>
                <a:lnTo>
                  <a:pt x="943" y="3090"/>
                </a:lnTo>
                <a:lnTo>
                  <a:pt x="1123" y="3270"/>
                </a:lnTo>
                <a:lnTo>
                  <a:pt x="1123" y="3270"/>
                </a:lnTo>
                <a:lnTo>
                  <a:pt x="1127" y="3272"/>
                </a:lnTo>
                <a:lnTo>
                  <a:pt x="1133" y="3275"/>
                </a:lnTo>
                <a:lnTo>
                  <a:pt x="1139" y="3278"/>
                </a:lnTo>
                <a:lnTo>
                  <a:pt x="1144" y="3278"/>
                </a:lnTo>
                <a:lnTo>
                  <a:pt x="1150" y="3278"/>
                </a:lnTo>
                <a:lnTo>
                  <a:pt x="1155" y="3275"/>
                </a:lnTo>
                <a:lnTo>
                  <a:pt x="1161" y="3272"/>
                </a:lnTo>
                <a:lnTo>
                  <a:pt x="1165" y="3270"/>
                </a:lnTo>
                <a:lnTo>
                  <a:pt x="1345" y="3090"/>
                </a:lnTo>
                <a:lnTo>
                  <a:pt x="5760" y="3090"/>
                </a:lnTo>
                <a:lnTo>
                  <a:pt x="5760" y="0"/>
                </a:lnTo>
                <a:close/>
              </a:path>
            </a:pathLst>
          </a:custGeom>
          <a:solidFill>
            <a:srgbClr val="0070AF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0002" y="1449148"/>
            <a:ext cx="10572000" cy="2971051"/>
          </a:xfrm>
          <a:prstGeom prst="rect">
            <a:avLst/>
          </a:prstGeom>
        </p:spPr>
        <p:txBody>
          <a:bodyPr lIns="57150" tIns="28575" rIns="57150" bIns="28575" anchor="b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0002" y="5461002"/>
            <a:ext cx="10572000" cy="434975"/>
          </a:xfrm>
          <a:prstGeom prst="rect">
            <a:avLst/>
          </a:prstGeom>
        </p:spPr>
        <p:txBody>
          <a:bodyPr lIns="57150" tIns="28575" rIns="57150" bIns="28575" anchor="t">
            <a:noAutofit/>
          </a:bodyPr>
          <a:lstStyle>
            <a:lvl1pPr marL="0" indent="0" algn="l">
              <a:buNone/>
              <a:defRPr sz="2500">
                <a:solidFill>
                  <a:schemeClr val="tx1"/>
                </a:solidFill>
              </a:defRPr>
            </a:lvl1pPr>
            <a:lvl2pPr marL="342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567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189" y="16677"/>
            <a:ext cx="10969214" cy="101188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half" idx="2"/>
          </p:nvPr>
        </p:nvSpPr>
        <p:spPr>
          <a:xfrm>
            <a:off x="8185521" y="1200727"/>
            <a:ext cx="3981851" cy="539919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8163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Arial" pitchFamily="34" charset="0"/>
              <a:buNone/>
              <a:tabLst/>
              <a:defRPr sz="1333" u="none" baseline="0">
                <a:solidFill>
                  <a:srgbClr val="000000"/>
                </a:solidFill>
                <a:latin typeface="+mn-lt"/>
              </a:defRPr>
            </a:lvl1pPr>
          </a:lstStyle>
          <a:p>
            <a:pPr marL="0" indent="0" algn="ctr">
              <a:buNone/>
            </a:pPr>
            <a:endParaRPr lang="en-US" sz="1351" dirty="0"/>
          </a:p>
        </p:txBody>
      </p:sp>
      <p:sp>
        <p:nvSpPr>
          <p:cNvPr id="4" name="AutoShape 4" descr="https://portholes.princess.com/sites/default/files/princess_templates_logos/download/Princess_Cruises_Brandmark_Black_2016.jpg"/>
          <p:cNvSpPr>
            <a:spLocks noChangeAspect="1" noChangeArrowheads="1"/>
          </p:cNvSpPr>
          <p:nvPr userDrawn="1"/>
        </p:nvSpPr>
        <p:spPr bwMode="auto">
          <a:xfrm>
            <a:off x="276578" y="-192617"/>
            <a:ext cx="541867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02306" y="6352467"/>
            <a:ext cx="1137920" cy="379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54509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084">
          <p15:clr>
            <a:srgbClr val="FBAE40"/>
          </p15:clr>
        </p15:guide>
        <p15:guide id="2" pos="356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CL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754" y="0"/>
            <a:ext cx="12183246" cy="68470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 t="10001" r="-68" b="20676"/>
          <a:stretch/>
        </p:blipFill>
        <p:spPr>
          <a:xfrm>
            <a:off x="8754" y="-16476"/>
            <a:ext cx="12192000" cy="42260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8000" y="4352398"/>
            <a:ext cx="11303001" cy="1460500"/>
          </a:xfrm>
          <a:prstGeom prst="rect">
            <a:avLst/>
          </a:prstGeom>
        </p:spPr>
        <p:txBody>
          <a:bodyPr lIns="57150" tIns="28575" rIns="57150" bIns="28575" anchor="b"/>
          <a:lstStyle>
            <a:lvl1pPr algn="ctr">
              <a:defRPr b="0">
                <a:solidFill>
                  <a:srgbClr val="0070AF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8000" y="5876398"/>
            <a:ext cx="11303001" cy="473604"/>
          </a:xfrm>
          <a:prstGeom prst="rect">
            <a:avLst/>
          </a:prstGeom>
        </p:spPr>
        <p:txBody>
          <a:bodyPr lIns="57150" tIns="28575" rIns="57150" bIns="28575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004646" y="0"/>
            <a:ext cx="2176137" cy="1243469"/>
            <a:chOff x="6119075" y="0"/>
            <a:chExt cx="2402752" cy="1372958"/>
          </a:xfrm>
        </p:grpSpPr>
        <p:sp>
          <p:nvSpPr>
            <p:cNvPr id="21" name="Chevron 20"/>
            <p:cNvSpPr/>
            <p:nvPr userDrawn="1"/>
          </p:nvSpPr>
          <p:spPr>
            <a:xfrm rot="16200000">
              <a:off x="6825150" y="-323717"/>
              <a:ext cx="990600" cy="2402750"/>
            </a:xfrm>
            <a:prstGeom prst="chevron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5F5F5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6119077" y="0"/>
              <a:ext cx="2402750" cy="877659"/>
            </a:xfrm>
            <a:prstGeom prst="rect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16259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38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" y="1499616"/>
            <a:ext cx="10972800" cy="4669536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buClr>
                <a:srgbClr val="0070AF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70AF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70AF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70AF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70AF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182880"/>
            <a:ext cx="10972800" cy="12192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49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1" y="177800"/>
            <a:ext cx="11049001" cy="8128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609601" y="990600"/>
            <a:ext cx="10947401" cy="40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017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1" y="177800"/>
            <a:ext cx="11049001" cy="8128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552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AF"/>
              </a:buClr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2" y="1841500"/>
            <a:ext cx="5524500" cy="4191000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buClr>
                <a:srgbClr val="0070AF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70AF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70AF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70AF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70AF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2" y="275167"/>
            <a:ext cx="5524500" cy="1439333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5842000" cy="6223000"/>
          </a:xfrm>
          <a:prstGeom prst="rect">
            <a:avLst/>
          </a:prstGeom>
        </p:spPr>
        <p:txBody>
          <a:bodyPr lIns="57150" tIns="28575" rIns="57150" bIns="28575"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78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CL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4889502"/>
            <a:ext cx="12192000" cy="1968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1" name="Freeform 6"/>
          <p:cNvSpPr/>
          <p:nvPr/>
        </p:nvSpPr>
        <p:spPr bwMode="auto">
          <a:xfrm>
            <a:off x="0" y="-3174"/>
            <a:ext cx="12192000" cy="5203825"/>
          </a:xfrm>
          <a:custGeom>
            <a:avLst/>
            <a:gdLst/>
            <a:ahLst/>
            <a:cxnLst/>
            <a:rect l="0" t="0" r="r" b="b"/>
            <a:pathLst>
              <a:path w="5760" h="3278">
                <a:moveTo>
                  <a:pt x="5760" y="0"/>
                </a:moveTo>
                <a:lnTo>
                  <a:pt x="0" y="0"/>
                </a:lnTo>
                <a:lnTo>
                  <a:pt x="0" y="3090"/>
                </a:lnTo>
                <a:lnTo>
                  <a:pt x="943" y="3090"/>
                </a:lnTo>
                <a:lnTo>
                  <a:pt x="1123" y="3270"/>
                </a:lnTo>
                <a:lnTo>
                  <a:pt x="1123" y="3270"/>
                </a:lnTo>
                <a:lnTo>
                  <a:pt x="1127" y="3272"/>
                </a:lnTo>
                <a:lnTo>
                  <a:pt x="1133" y="3275"/>
                </a:lnTo>
                <a:lnTo>
                  <a:pt x="1139" y="3278"/>
                </a:lnTo>
                <a:lnTo>
                  <a:pt x="1144" y="3278"/>
                </a:lnTo>
                <a:lnTo>
                  <a:pt x="1150" y="3278"/>
                </a:lnTo>
                <a:lnTo>
                  <a:pt x="1155" y="3275"/>
                </a:lnTo>
                <a:lnTo>
                  <a:pt x="1161" y="3272"/>
                </a:lnTo>
                <a:lnTo>
                  <a:pt x="1165" y="3270"/>
                </a:lnTo>
                <a:lnTo>
                  <a:pt x="1345" y="3090"/>
                </a:lnTo>
                <a:lnTo>
                  <a:pt x="5760" y="3090"/>
                </a:lnTo>
                <a:lnTo>
                  <a:pt x="5760" y="0"/>
                </a:lnTo>
                <a:close/>
              </a:path>
            </a:pathLst>
          </a:custGeom>
          <a:solidFill>
            <a:srgbClr val="0070AF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0002" y="1449148"/>
            <a:ext cx="10572000" cy="2971051"/>
          </a:xfrm>
          <a:prstGeom prst="rect">
            <a:avLst/>
          </a:prstGeom>
        </p:spPr>
        <p:txBody>
          <a:bodyPr lIns="57150" tIns="28575" rIns="57150" bIns="28575" anchor="b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0002" y="5461002"/>
            <a:ext cx="10572000" cy="434975"/>
          </a:xfrm>
          <a:prstGeom prst="rect">
            <a:avLst/>
          </a:prstGeom>
        </p:spPr>
        <p:txBody>
          <a:bodyPr lIns="57150" tIns="28575" rIns="57150" bIns="28575" anchor="t">
            <a:noAutofit/>
          </a:bodyPr>
          <a:lstStyle>
            <a:lvl1pPr marL="0" indent="0" algn="l">
              <a:buNone/>
              <a:defRPr sz="2500">
                <a:solidFill>
                  <a:schemeClr val="tx1"/>
                </a:solidFill>
              </a:defRPr>
            </a:lvl1pPr>
            <a:lvl2pPr marL="342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1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189" y="16677"/>
            <a:ext cx="10969214" cy="101188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half" idx="2"/>
          </p:nvPr>
        </p:nvSpPr>
        <p:spPr>
          <a:xfrm>
            <a:off x="8185521" y="1200727"/>
            <a:ext cx="3981851" cy="539919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8163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Arial" pitchFamily="34" charset="0"/>
              <a:buNone/>
              <a:tabLst/>
              <a:defRPr sz="1333" u="none" baseline="0">
                <a:solidFill>
                  <a:srgbClr val="000000"/>
                </a:solidFill>
                <a:latin typeface="+mn-lt"/>
              </a:defRPr>
            </a:lvl1pPr>
          </a:lstStyle>
          <a:p>
            <a:pPr marL="0" indent="0" algn="ctr">
              <a:buNone/>
            </a:pPr>
            <a:endParaRPr lang="en-US" sz="1351" dirty="0"/>
          </a:p>
        </p:txBody>
      </p:sp>
      <p:sp>
        <p:nvSpPr>
          <p:cNvPr id="4" name="AutoShape 4" descr="https://portholes.princess.com/sites/default/files/princess_templates_logos/download/Princess_Cruises_Brandmark_Black_2016.jpg"/>
          <p:cNvSpPr>
            <a:spLocks noChangeAspect="1" noChangeArrowheads="1"/>
          </p:cNvSpPr>
          <p:nvPr userDrawn="1"/>
        </p:nvSpPr>
        <p:spPr bwMode="auto">
          <a:xfrm>
            <a:off x="276578" y="-192617"/>
            <a:ext cx="541867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02306" y="6352467"/>
            <a:ext cx="1137920" cy="379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41351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084">
          <p15:clr>
            <a:srgbClr val="FBAE40"/>
          </p15:clr>
        </p15:guide>
        <p15:guide id="2" pos="356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CL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754" y="0"/>
            <a:ext cx="12183246" cy="68470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 t="10001" r="-68" b="20676"/>
          <a:stretch/>
        </p:blipFill>
        <p:spPr>
          <a:xfrm>
            <a:off x="8754" y="-16476"/>
            <a:ext cx="12192000" cy="42260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8000" y="4352398"/>
            <a:ext cx="11303001" cy="1460500"/>
          </a:xfrm>
          <a:prstGeom prst="rect">
            <a:avLst/>
          </a:prstGeom>
        </p:spPr>
        <p:txBody>
          <a:bodyPr lIns="57150" tIns="28575" rIns="57150" bIns="28575" anchor="b"/>
          <a:lstStyle>
            <a:lvl1pPr algn="ctr">
              <a:defRPr b="0">
                <a:solidFill>
                  <a:srgbClr val="0070AF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8000" y="5876398"/>
            <a:ext cx="11303001" cy="473604"/>
          </a:xfrm>
          <a:prstGeom prst="rect">
            <a:avLst/>
          </a:prstGeom>
        </p:spPr>
        <p:txBody>
          <a:bodyPr lIns="57150" tIns="28575" rIns="57150" bIns="28575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004646" y="0"/>
            <a:ext cx="2176137" cy="1243469"/>
            <a:chOff x="6119075" y="0"/>
            <a:chExt cx="2402752" cy="1372958"/>
          </a:xfrm>
        </p:grpSpPr>
        <p:sp>
          <p:nvSpPr>
            <p:cNvPr id="21" name="Chevron 20"/>
            <p:cNvSpPr/>
            <p:nvPr userDrawn="1"/>
          </p:nvSpPr>
          <p:spPr>
            <a:xfrm rot="16200000">
              <a:off x="6825150" y="-323717"/>
              <a:ext cx="990600" cy="2402750"/>
            </a:xfrm>
            <a:prstGeom prst="chevron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5F5F5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6119077" y="0"/>
              <a:ext cx="2402750" cy="877659"/>
            </a:xfrm>
            <a:prstGeom prst="rect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16259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313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AAFF8-7E50-4C54-928A-8AA64EA6B8C2}" type="datetimeFigureOut">
              <a:rPr lang="en-US" smtClean="0"/>
              <a:t>7/2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306DE-743B-4CFF-8D3B-A762D9B568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7575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" y="1499616"/>
            <a:ext cx="10972800" cy="4669536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buClr>
                <a:srgbClr val="0070AF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70AF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70AF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70AF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70AF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182880"/>
            <a:ext cx="10972800" cy="12192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464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1" y="177800"/>
            <a:ext cx="11049001" cy="8128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609601" y="990600"/>
            <a:ext cx="10947401" cy="40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746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1" y="177800"/>
            <a:ext cx="11049001" cy="8128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025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AF"/>
              </a:buClr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2" y="1841500"/>
            <a:ext cx="5524500" cy="4191000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buClr>
                <a:srgbClr val="0070AF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70AF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70AF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70AF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70AF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2" y="275167"/>
            <a:ext cx="5524500" cy="1439333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5842000" cy="6223000"/>
          </a:xfrm>
          <a:prstGeom prst="rect">
            <a:avLst/>
          </a:prstGeom>
        </p:spPr>
        <p:txBody>
          <a:bodyPr lIns="57150" tIns="28575" rIns="57150" bIns="28575"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733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CL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4889502"/>
            <a:ext cx="12192000" cy="1968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1" name="Freeform 6"/>
          <p:cNvSpPr/>
          <p:nvPr/>
        </p:nvSpPr>
        <p:spPr bwMode="auto">
          <a:xfrm>
            <a:off x="0" y="-3174"/>
            <a:ext cx="12192000" cy="5203825"/>
          </a:xfrm>
          <a:custGeom>
            <a:avLst/>
            <a:gdLst/>
            <a:ahLst/>
            <a:cxnLst/>
            <a:rect l="0" t="0" r="r" b="b"/>
            <a:pathLst>
              <a:path w="5760" h="3278">
                <a:moveTo>
                  <a:pt x="5760" y="0"/>
                </a:moveTo>
                <a:lnTo>
                  <a:pt x="0" y="0"/>
                </a:lnTo>
                <a:lnTo>
                  <a:pt x="0" y="3090"/>
                </a:lnTo>
                <a:lnTo>
                  <a:pt x="943" y="3090"/>
                </a:lnTo>
                <a:lnTo>
                  <a:pt x="1123" y="3270"/>
                </a:lnTo>
                <a:lnTo>
                  <a:pt x="1123" y="3270"/>
                </a:lnTo>
                <a:lnTo>
                  <a:pt x="1127" y="3272"/>
                </a:lnTo>
                <a:lnTo>
                  <a:pt x="1133" y="3275"/>
                </a:lnTo>
                <a:lnTo>
                  <a:pt x="1139" y="3278"/>
                </a:lnTo>
                <a:lnTo>
                  <a:pt x="1144" y="3278"/>
                </a:lnTo>
                <a:lnTo>
                  <a:pt x="1150" y="3278"/>
                </a:lnTo>
                <a:lnTo>
                  <a:pt x="1155" y="3275"/>
                </a:lnTo>
                <a:lnTo>
                  <a:pt x="1161" y="3272"/>
                </a:lnTo>
                <a:lnTo>
                  <a:pt x="1165" y="3270"/>
                </a:lnTo>
                <a:lnTo>
                  <a:pt x="1345" y="3090"/>
                </a:lnTo>
                <a:lnTo>
                  <a:pt x="5760" y="3090"/>
                </a:lnTo>
                <a:lnTo>
                  <a:pt x="5760" y="0"/>
                </a:lnTo>
                <a:close/>
              </a:path>
            </a:pathLst>
          </a:custGeom>
          <a:solidFill>
            <a:srgbClr val="0070AF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0002" y="1449148"/>
            <a:ext cx="10572000" cy="2971051"/>
          </a:xfrm>
          <a:prstGeom prst="rect">
            <a:avLst/>
          </a:prstGeom>
        </p:spPr>
        <p:txBody>
          <a:bodyPr lIns="57150" tIns="28575" rIns="57150" bIns="28575" anchor="b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0002" y="5461002"/>
            <a:ext cx="10572000" cy="434975"/>
          </a:xfrm>
          <a:prstGeom prst="rect">
            <a:avLst/>
          </a:prstGeom>
        </p:spPr>
        <p:txBody>
          <a:bodyPr lIns="57150" tIns="28575" rIns="57150" bIns="28575" anchor="t">
            <a:noAutofit/>
          </a:bodyPr>
          <a:lstStyle>
            <a:lvl1pPr marL="0" indent="0" algn="l">
              <a:buNone/>
              <a:defRPr sz="2500">
                <a:solidFill>
                  <a:schemeClr val="tx1"/>
                </a:solidFill>
              </a:defRPr>
            </a:lvl1pPr>
            <a:lvl2pPr marL="342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734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189" y="16677"/>
            <a:ext cx="10969214" cy="101188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half" idx="2"/>
          </p:nvPr>
        </p:nvSpPr>
        <p:spPr>
          <a:xfrm>
            <a:off x="8185521" y="1200727"/>
            <a:ext cx="3981851" cy="539919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8163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Arial" pitchFamily="34" charset="0"/>
              <a:buNone/>
              <a:tabLst/>
              <a:defRPr sz="1333" u="none" baseline="0">
                <a:solidFill>
                  <a:srgbClr val="000000"/>
                </a:solidFill>
                <a:latin typeface="+mn-lt"/>
              </a:defRPr>
            </a:lvl1pPr>
          </a:lstStyle>
          <a:p>
            <a:pPr marL="0" indent="0" algn="ctr">
              <a:buNone/>
            </a:pPr>
            <a:endParaRPr lang="en-US" sz="1351" dirty="0"/>
          </a:p>
        </p:txBody>
      </p:sp>
      <p:sp>
        <p:nvSpPr>
          <p:cNvPr id="4" name="AutoShape 4" descr="https://portholes.princess.com/sites/default/files/princess_templates_logos/download/Princess_Cruises_Brandmark_Black_2016.jpg"/>
          <p:cNvSpPr>
            <a:spLocks noChangeAspect="1" noChangeArrowheads="1"/>
          </p:cNvSpPr>
          <p:nvPr userDrawn="1"/>
        </p:nvSpPr>
        <p:spPr bwMode="auto">
          <a:xfrm>
            <a:off x="276578" y="-192617"/>
            <a:ext cx="541867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02306" y="6352467"/>
            <a:ext cx="1137920" cy="379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2654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084">
          <p15:clr>
            <a:srgbClr val="FBAE40"/>
          </p15:clr>
        </p15:guide>
        <p15:guide id="2" pos="356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CL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754" y="0"/>
            <a:ext cx="12183246" cy="68470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 t="10001" r="-68" b="20676"/>
          <a:stretch/>
        </p:blipFill>
        <p:spPr>
          <a:xfrm>
            <a:off x="8754" y="-16476"/>
            <a:ext cx="12192000" cy="42260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8000" y="4352398"/>
            <a:ext cx="11303001" cy="1460500"/>
          </a:xfrm>
          <a:prstGeom prst="rect">
            <a:avLst/>
          </a:prstGeom>
        </p:spPr>
        <p:txBody>
          <a:bodyPr lIns="57150" tIns="28575" rIns="57150" bIns="28575" anchor="b"/>
          <a:lstStyle>
            <a:lvl1pPr algn="ctr">
              <a:defRPr b="0">
                <a:solidFill>
                  <a:srgbClr val="0070AF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8000" y="5876398"/>
            <a:ext cx="11303001" cy="473604"/>
          </a:xfrm>
          <a:prstGeom prst="rect">
            <a:avLst/>
          </a:prstGeom>
        </p:spPr>
        <p:txBody>
          <a:bodyPr lIns="57150" tIns="28575" rIns="57150" bIns="28575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004646" y="0"/>
            <a:ext cx="2176137" cy="1243469"/>
            <a:chOff x="6119075" y="0"/>
            <a:chExt cx="2402752" cy="1372958"/>
          </a:xfrm>
        </p:grpSpPr>
        <p:sp>
          <p:nvSpPr>
            <p:cNvPr id="21" name="Chevron 20"/>
            <p:cNvSpPr/>
            <p:nvPr userDrawn="1"/>
          </p:nvSpPr>
          <p:spPr>
            <a:xfrm rot="16200000">
              <a:off x="6825150" y="-323717"/>
              <a:ext cx="990600" cy="2402750"/>
            </a:xfrm>
            <a:prstGeom prst="chevron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5F5F5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6119077" y="0"/>
              <a:ext cx="2402750" cy="877659"/>
            </a:xfrm>
            <a:prstGeom prst="rect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16259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83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" y="1499616"/>
            <a:ext cx="10972800" cy="4669536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buClr>
                <a:srgbClr val="0070AF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70AF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70AF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70AF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70AF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182880"/>
            <a:ext cx="10972800" cy="12192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441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1" y="177800"/>
            <a:ext cx="11049001" cy="8128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609601" y="990600"/>
            <a:ext cx="10947401" cy="40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509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1" y="177800"/>
            <a:ext cx="11049001" cy="8128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82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AAFF8-7E50-4C54-928A-8AA64EA6B8C2}" type="datetimeFigureOut">
              <a:rPr lang="en-US" smtClean="0"/>
              <a:t>7/20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306DE-743B-4CFF-8D3B-A762D9B568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9067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AF"/>
              </a:buClr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2" y="1841500"/>
            <a:ext cx="5524500" cy="4191000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buClr>
                <a:srgbClr val="0070AF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70AF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70AF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70AF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70AF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2" y="275167"/>
            <a:ext cx="5524500" cy="1439333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5842000" cy="6223000"/>
          </a:xfrm>
          <a:prstGeom prst="rect">
            <a:avLst/>
          </a:prstGeom>
        </p:spPr>
        <p:txBody>
          <a:bodyPr lIns="57150" tIns="28575" rIns="57150" bIns="28575"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2470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CL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4889502"/>
            <a:ext cx="12192000" cy="1968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1" name="Freeform 6"/>
          <p:cNvSpPr/>
          <p:nvPr/>
        </p:nvSpPr>
        <p:spPr bwMode="auto">
          <a:xfrm>
            <a:off x="0" y="-3174"/>
            <a:ext cx="12192000" cy="5203825"/>
          </a:xfrm>
          <a:custGeom>
            <a:avLst/>
            <a:gdLst/>
            <a:ahLst/>
            <a:cxnLst/>
            <a:rect l="0" t="0" r="r" b="b"/>
            <a:pathLst>
              <a:path w="5760" h="3278">
                <a:moveTo>
                  <a:pt x="5760" y="0"/>
                </a:moveTo>
                <a:lnTo>
                  <a:pt x="0" y="0"/>
                </a:lnTo>
                <a:lnTo>
                  <a:pt x="0" y="3090"/>
                </a:lnTo>
                <a:lnTo>
                  <a:pt x="943" y="3090"/>
                </a:lnTo>
                <a:lnTo>
                  <a:pt x="1123" y="3270"/>
                </a:lnTo>
                <a:lnTo>
                  <a:pt x="1123" y="3270"/>
                </a:lnTo>
                <a:lnTo>
                  <a:pt x="1127" y="3272"/>
                </a:lnTo>
                <a:lnTo>
                  <a:pt x="1133" y="3275"/>
                </a:lnTo>
                <a:lnTo>
                  <a:pt x="1139" y="3278"/>
                </a:lnTo>
                <a:lnTo>
                  <a:pt x="1144" y="3278"/>
                </a:lnTo>
                <a:lnTo>
                  <a:pt x="1150" y="3278"/>
                </a:lnTo>
                <a:lnTo>
                  <a:pt x="1155" y="3275"/>
                </a:lnTo>
                <a:lnTo>
                  <a:pt x="1161" y="3272"/>
                </a:lnTo>
                <a:lnTo>
                  <a:pt x="1165" y="3270"/>
                </a:lnTo>
                <a:lnTo>
                  <a:pt x="1345" y="3090"/>
                </a:lnTo>
                <a:lnTo>
                  <a:pt x="5760" y="3090"/>
                </a:lnTo>
                <a:lnTo>
                  <a:pt x="5760" y="0"/>
                </a:lnTo>
                <a:close/>
              </a:path>
            </a:pathLst>
          </a:custGeom>
          <a:solidFill>
            <a:srgbClr val="0070AF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0002" y="1449148"/>
            <a:ext cx="10572000" cy="2971051"/>
          </a:xfrm>
          <a:prstGeom prst="rect">
            <a:avLst/>
          </a:prstGeom>
        </p:spPr>
        <p:txBody>
          <a:bodyPr lIns="57150" tIns="28575" rIns="57150" bIns="28575" anchor="b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0002" y="5461002"/>
            <a:ext cx="10572000" cy="434975"/>
          </a:xfrm>
          <a:prstGeom prst="rect">
            <a:avLst/>
          </a:prstGeom>
        </p:spPr>
        <p:txBody>
          <a:bodyPr lIns="57150" tIns="28575" rIns="57150" bIns="28575" anchor="t">
            <a:noAutofit/>
          </a:bodyPr>
          <a:lstStyle>
            <a:lvl1pPr marL="0" indent="0" algn="l">
              <a:buNone/>
              <a:defRPr sz="2500">
                <a:solidFill>
                  <a:schemeClr val="tx1"/>
                </a:solidFill>
              </a:defRPr>
            </a:lvl1pPr>
            <a:lvl2pPr marL="342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358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189" y="16677"/>
            <a:ext cx="10969214" cy="101188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half" idx="2"/>
          </p:nvPr>
        </p:nvSpPr>
        <p:spPr>
          <a:xfrm>
            <a:off x="8185521" y="1200727"/>
            <a:ext cx="3981851" cy="539919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8163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Arial" pitchFamily="34" charset="0"/>
              <a:buNone/>
              <a:tabLst/>
              <a:defRPr sz="1333" u="none" baseline="0">
                <a:solidFill>
                  <a:srgbClr val="000000"/>
                </a:solidFill>
                <a:latin typeface="+mn-lt"/>
              </a:defRPr>
            </a:lvl1pPr>
          </a:lstStyle>
          <a:p>
            <a:pPr marL="0" indent="0" algn="ctr">
              <a:buNone/>
            </a:pPr>
            <a:endParaRPr lang="en-US" sz="1351" dirty="0"/>
          </a:p>
        </p:txBody>
      </p:sp>
      <p:sp>
        <p:nvSpPr>
          <p:cNvPr id="4" name="AutoShape 4" descr="https://portholes.princess.com/sites/default/files/princess_templates_logos/download/Princess_Cruises_Brandmark_Black_2016.jpg"/>
          <p:cNvSpPr>
            <a:spLocks noChangeAspect="1" noChangeArrowheads="1"/>
          </p:cNvSpPr>
          <p:nvPr userDrawn="1"/>
        </p:nvSpPr>
        <p:spPr bwMode="auto">
          <a:xfrm>
            <a:off x="276578" y="-192617"/>
            <a:ext cx="541867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02306" y="6352467"/>
            <a:ext cx="1137920" cy="379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233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084">
          <p15:clr>
            <a:srgbClr val="FBAE40"/>
          </p15:clr>
        </p15:guide>
        <p15:guide id="2" pos="356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CL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754" y="0"/>
            <a:ext cx="12183246" cy="68470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 t="10001" r="-68" b="20676"/>
          <a:stretch/>
        </p:blipFill>
        <p:spPr>
          <a:xfrm>
            <a:off x="8754" y="-16476"/>
            <a:ext cx="12192000" cy="42260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8000" y="4352398"/>
            <a:ext cx="11303001" cy="1460500"/>
          </a:xfrm>
          <a:prstGeom prst="rect">
            <a:avLst/>
          </a:prstGeom>
        </p:spPr>
        <p:txBody>
          <a:bodyPr lIns="57150" tIns="28575" rIns="57150" bIns="28575" anchor="b"/>
          <a:lstStyle>
            <a:lvl1pPr algn="ctr">
              <a:defRPr b="0">
                <a:solidFill>
                  <a:srgbClr val="0070AF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8000" y="5876398"/>
            <a:ext cx="11303001" cy="473604"/>
          </a:xfrm>
          <a:prstGeom prst="rect">
            <a:avLst/>
          </a:prstGeom>
        </p:spPr>
        <p:txBody>
          <a:bodyPr lIns="57150" tIns="28575" rIns="57150" bIns="28575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004646" y="0"/>
            <a:ext cx="2176137" cy="1243469"/>
            <a:chOff x="6119075" y="0"/>
            <a:chExt cx="2402752" cy="1372958"/>
          </a:xfrm>
        </p:grpSpPr>
        <p:sp>
          <p:nvSpPr>
            <p:cNvPr id="21" name="Chevron 20"/>
            <p:cNvSpPr/>
            <p:nvPr userDrawn="1"/>
          </p:nvSpPr>
          <p:spPr>
            <a:xfrm rot="16200000">
              <a:off x="6825150" y="-323717"/>
              <a:ext cx="990600" cy="2402750"/>
            </a:xfrm>
            <a:prstGeom prst="chevron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5F5F5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6119077" y="0"/>
              <a:ext cx="2402750" cy="877659"/>
            </a:xfrm>
            <a:prstGeom prst="rect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16259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947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" y="1499616"/>
            <a:ext cx="10972800" cy="4669536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buClr>
                <a:srgbClr val="0070AF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70AF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70AF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70AF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70AF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182880"/>
            <a:ext cx="10972800" cy="12192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2801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1" y="177800"/>
            <a:ext cx="11049001" cy="8128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609601" y="990600"/>
            <a:ext cx="10947401" cy="40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62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1" y="177800"/>
            <a:ext cx="11049001" cy="8128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1405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AF"/>
              </a:buClr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2" y="1841500"/>
            <a:ext cx="5524500" cy="4191000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buClr>
                <a:srgbClr val="0070AF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70AF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70AF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70AF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70AF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2" y="275167"/>
            <a:ext cx="5524500" cy="1439333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5842000" cy="6223000"/>
          </a:xfrm>
          <a:prstGeom prst="rect">
            <a:avLst/>
          </a:prstGeom>
        </p:spPr>
        <p:txBody>
          <a:bodyPr lIns="57150" tIns="28575" rIns="57150" bIns="28575"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11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CL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4889502"/>
            <a:ext cx="12192000" cy="1968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1" name="Freeform 6"/>
          <p:cNvSpPr/>
          <p:nvPr/>
        </p:nvSpPr>
        <p:spPr bwMode="auto">
          <a:xfrm>
            <a:off x="0" y="-3174"/>
            <a:ext cx="12192000" cy="5203825"/>
          </a:xfrm>
          <a:custGeom>
            <a:avLst/>
            <a:gdLst/>
            <a:ahLst/>
            <a:cxnLst/>
            <a:rect l="0" t="0" r="r" b="b"/>
            <a:pathLst>
              <a:path w="5760" h="3278">
                <a:moveTo>
                  <a:pt x="5760" y="0"/>
                </a:moveTo>
                <a:lnTo>
                  <a:pt x="0" y="0"/>
                </a:lnTo>
                <a:lnTo>
                  <a:pt x="0" y="3090"/>
                </a:lnTo>
                <a:lnTo>
                  <a:pt x="943" y="3090"/>
                </a:lnTo>
                <a:lnTo>
                  <a:pt x="1123" y="3270"/>
                </a:lnTo>
                <a:lnTo>
                  <a:pt x="1123" y="3270"/>
                </a:lnTo>
                <a:lnTo>
                  <a:pt x="1127" y="3272"/>
                </a:lnTo>
                <a:lnTo>
                  <a:pt x="1133" y="3275"/>
                </a:lnTo>
                <a:lnTo>
                  <a:pt x="1139" y="3278"/>
                </a:lnTo>
                <a:lnTo>
                  <a:pt x="1144" y="3278"/>
                </a:lnTo>
                <a:lnTo>
                  <a:pt x="1150" y="3278"/>
                </a:lnTo>
                <a:lnTo>
                  <a:pt x="1155" y="3275"/>
                </a:lnTo>
                <a:lnTo>
                  <a:pt x="1161" y="3272"/>
                </a:lnTo>
                <a:lnTo>
                  <a:pt x="1165" y="3270"/>
                </a:lnTo>
                <a:lnTo>
                  <a:pt x="1345" y="3090"/>
                </a:lnTo>
                <a:lnTo>
                  <a:pt x="5760" y="3090"/>
                </a:lnTo>
                <a:lnTo>
                  <a:pt x="5760" y="0"/>
                </a:lnTo>
                <a:close/>
              </a:path>
            </a:pathLst>
          </a:custGeom>
          <a:solidFill>
            <a:srgbClr val="0070AF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0002" y="1449148"/>
            <a:ext cx="10572000" cy="2971051"/>
          </a:xfrm>
          <a:prstGeom prst="rect">
            <a:avLst/>
          </a:prstGeom>
        </p:spPr>
        <p:txBody>
          <a:bodyPr lIns="57150" tIns="28575" rIns="57150" bIns="28575" anchor="b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0002" y="5461002"/>
            <a:ext cx="10572000" cy="434975"/>
          </a:xfrm>
          <a:prstGeom prst="rect">
            <a:avLst/>
          </a:prstGeom>
        </p:spPr>
        <p:txBody>
          <a:bodyPr lIns="57150" tIns="28575" rIns="57150" bIns="28575" anchor="t">
            <a:noAutofit/>
          </a:bodyPr>
          <a:lstStyle>
            <a:lvl1pPr marL="0" indent="0" algn="l">
              <a:buNone/>
              <a:defRPr sz="2500">
                <a:solidFill>
                  <a:schemeClr val="tx1"/>
                </a:solidFill>
              </a:defRPr>
            </a:lvl1pPr>
            <a:lvl2pPr marL="342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319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189" y="16677"/>
            <a:ext cx="10969214" cy="101188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half" idx="2"/>
          </p:nvPr>
        </p:nvSpPr>
        <p:spPr>
          <a:xfrm>
            <a:off x="8185521" y="1200727"/>
            <a:ext cx="3981851" cy="539919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8163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Arial" pitchFamily="34" charset="0"/>
              <a:buNone/>
              <a:tabLst/>
              <a:defRPr sz="1333" u="none" baseline="0">
                <a:solidFill>
                  <a:srgbClr val="000000"/>
                </a:solidFill>
                <a:latin typeface="+mn-lt"/>
              </a:defRPr>
            </a:lvl1pPr>
          </a:lstStyle>
          <a:p>
            <a:pPr marL="0" indent="0" algn="ctr">
              <a:buNone/>
            </a:pPr>
            <a:endParaRPr lang="en-US" sz="1351" dirty="0"/>
          </a:p>
        </p:txBody>
      </p:sp>
      <p:sp>
        <p:nvSpPr>
          <p:cNvPr id="4" name="AutoShape 4" descr="https://portholes.princess.com/sites/default/files/princess_templates_logos/download/Princess_Cruises_Brandmark_Black_2016.jpg"/>
          <p:cNvSpPr>
            <a:spLocks noChangeAspect="1" noChangeArrowheads="1"/>
          </p:cNvSpPr>
          <p:nvPr userDrawn="1"/>
        </p:nvSpPr>
        <p:spPr bwMode="auto">
          <a:xfrm>
            <a:off x="276578" y="-192617"/>
            <a:ext cx="541867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02306" y="6352467"/>
            <a:ext cx="1137920" cy="379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341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084">
          <p15:clr>
            <a:srgbClr val="FBAE40"/>
          </p15:clr>
        </p15:guide>
        <p15:guide id="2" pos="356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AAFF8-7E50-4C54-928A-8AA64EA6B8C2}" type="datetimeFigureOut">
              <a:rPr lang="en-US" smtClean="0"/>
              <a:t>7/20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306DE-743B-4CFF-8D3B-A762D9B568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610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CL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754" y="0"/>
            <a:ext cx="12183246" cy="68470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 t="10001" r="-68" b="20676"/>
          <a:stretch/>
        </p:blipFill>
        <p:spPr>
          <a:xfrm>
            <a:off x="8754" y="-16476"/>
            <a:ext cx="12192000" cy="42260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8000" y="4352398"/>
            <a:ext cx="11303001" cy="1460500"/>
          </a:xfrm>
          <a:prstGeom prst="rect">
            <a:avLst/>
          </a:prstGeom>
        </p:spPr>
        <p:txBody>
          <a:bodyPr lIns="57150" tIns="28575" rIns="57150" bIns="28575" anchor="b"/>
          <a:lstStyle>
            <a:lvl1pPr algn="ctr">
              <a:defRPr b="0">
                <a:solidFill>
                  <a:srgbClr val="0070AF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8000" y="5876398"/>
            <a:ext cx="11303001" cy="473604"/>
          </a:xfrm>
          <a:prstGeom prst="rect">
            <a:avLst/>
          </a:prstGeom>
        </p:spPr>
        <p:txBody>
          <a:bodyPr lIns="57150" tIns="28575" rIns="57150" bIns="28575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004646" y="0"/>
            <a:ext cx="2176137" cy="1243469"/>
            <a:chOff x="6119075" y="0"/>
            <a:chExt cx="2402752" cy="1372958"/>
          </a:xfrm>
        </p:grpSpPr>
        <p:sp>
          <p:nvSpPr>
            <p:cNvPr id="21" name="Chevron 20"/>
            <p:cNvSpPr/>
            <p:nvPr userDrawn="1"/>
          </p:nvSpPr>
          <p:spPr>
            <a:xfrm rot="16200000">
              <a:off x="6825150" y="-323717"/>
              <a:ext cx="990600" cy="2402750"/>
            </a:xfrm>
            <a:prstGeom prst="chevron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5F5F5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6119077" y="0"/>
              <a:ext cx="2402750" cy="877659"/>
            </a:xfrm>
            <a:prstGeom prst="rect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16259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361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" y="1499616"/>
            <a:ext cx="10972800" cy="4669536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buClr>
                <a:srgbClr val="0070AF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70AF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70AF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70AF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70AF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182880"/>
            <a:ext cx="10972800" cy="12192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358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1" y="177800"/>
            <a:ext cx="11049001" cy="8128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609601" y="990600"/>
            <a:ext cx="10947401" cy="40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240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1" y="177800"/>
            <a:ext cx="11049001" cy="8128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354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AF"/>
              </a:buClr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2" y="1841500"/>
            <a:ext cx="5524500" cy="4191000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buClr>
                <a:srgbClr val="0070AF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70AF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70AF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70AF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70AF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2" y="275167"/>
            <a:ext cx="5524500" cy="1439333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5842000" cy="6223000"/>
          </a:xfrm>
          <a:prstGeom prst="rect">
            <a:avLst/>
          </a:prstGeom>
        </p:spPr>
        <p:txBody>
          <a:bodyPr lIns="57150" tIns="28575" rIns="57150" bIns="28575"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6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CL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4889502"/>
            <a:ext cx="12192000" cy="1968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1" name="Freeform 6"/>
          <p:cNvSpPr/>
          <p:nvPr/>
        </p:nvSpPr>
        <p:spPr bwMode="auto">
          <a:xfrm>
            <a:off x="0" y="-3174"/>
            <a:ext cx="12192000" cy="5203825"/>
          </a:xfrm>
          <a:custGeom>
            <a:avLst/>
            <a:gdLst/>
            <a:ahLst/>
            <a:cxnLst/>
            <a:rect l="0" t="0" r="r" b="b"/>
            <a:pathLst>
              <a:path w="5760" h="3278">
                <a:moveTo>
                  <a:pt x="5760" y="0"/>
                </a:moveTo>
                <a:lnTo>
                  <a:pt x="0" y="0"/>
                </a:lnTo>
                <a:lnTo>
                  <a:pt x="0" y="3090"/>
                </a:lnTo>
                <a:lnTo>
                  <a:pt x="943" y="3090"/>
                </a:lnTo>
                <a:lnTo>
                  <a:pt x="1123" y="3270"/>
                </a:lnTo>
                <a:lnTo>
                  <a:pt x="1123" y="3270"/>
                </a:lnTo>
                <a:lnTo>
                  <a:pt x="1127" y="3272"/>
                </a:lnTo>
                <a:lnTo>
                  <a:pt x="1133" y="3275"/>
                </a:lnTo>
                <a:lnTo>
                  <a:pt x="1139" y="3278"/>
                </a:lnTo>
                <a:lnTo>
                  <a:pt x="1144" y="3278"/>
                </a:lnTo>
                <a:lnTo>
                  <a:pt x="1150" y="3278"/>
                </a:lnTo>
                <a:lnTo>
                  <a:pt x="1155" y="3275"/>
                </a:lnTo>
                <a:lnTo>
                  <a:pt x="1161" y="3272"/>
                </a:lnTo>
                <a:lnTo>
                  <a:pt x="1165" y="3270"/>
                </a:lnTo>
                <a:lnTo>
                  <a:pt x="1345" y="3090"/>
                </a:lnTo>
                <a:lnTo>
                  <a:pt x="5760" y="3090"/>
                </a:lnTo>
                <a:lnTo>
                  <a:pt x="5760" y="0"/>
                </a:lnTo>
                <a:close/>
              </a:path>
            </a:pathLst>
          </a:custGeom>
          <a:solidFill>
            <a:srgbClr val="0070AF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0002" y="1449148"/>
            <a:ext cx="10572000" cy="2971051"/>
          </a:xfrm>
          <a:prstGeom prst="rect">
            <a:avLst/>
          </a:prstGeom>
        </p:spPr>
        <p:txBody>
          <a:bodyPr lIns="57150" tIns="28575" rIns="57150" bIns="28575" anchor="b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0002" y="5461002"/>
            <a:ext cx="10572000" cy="434975"/>
          </a:xfrm>
          <a:prstGeom prst="rect">
            <a:avLst/>
          </a:prstGeom>
        </p:spPr>
        <p:txBody>
          <a:bodyPr lIns="57150" tIns="28575" rIns="57150" bIns="28575" anchor="t">
            <a:noAutofit/>
          </a:bodyPr>
          <a:lstStyle>
            <a:lvl1pPr marL="0" indent="0" algn="l">
              <a:buNone/>
              <a:defRPr sz="2500">
                <a:solidFill>
                  <a:schemeClr val="tx1"/>
                </a:solidFill>
              </a:defRPr>
            </a:lvl1pPr>
            <a:lvl2pPr marL="342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1205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189" y="16677"/>
            <a:ext cx="10969214" cy="101188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half" idx="2"/>
          </p:nvPr>
        </p:nvSpPr>
        <p:spPr>
          <a:xfrm>
            <a:off x="8185521" y="1200727"/>
            <a:ext cx="3981851" cy="539919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8163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Arial" pitchFamily="34" charset="0"/>
              <a:buNone/>
              <a:tabLst/>
              <a:defRPr sz="1333" u="none" baseline="0">
                <a:solidFill>
                  <a:srgbClr val="000000"/>
                </a:solidFill>
                <a:latin typeface="+mn-lt"/>
              </a:defRPr>
            </a:lvl1pPr>
          </a:lstStyle>
          <a:p>
            <a:pPr marL="0" indent="0" algn="ctr">
              <a:buNone/>
            </a:pPr>
            <a:endParaRPr lang="en-US" sz="1351" dirty="0"/>
          </a:p>
        </p:txBody>
      </p:sp>
      <p:sp>
        <p:nvSpPr>
          <p:cNvPr id="4" name="AutoShape 4" descr="https://portholes.princess.com/sites/default/files/princess_templates_logos/download/Princess_Cruises_Brandmark_Black_2016.jpg"/>
          <p:cNvSpPr>
            <a:spLocks noChangeAspect="1" noChangeArrowheads="1"/>
          </p:cNvSpPr>
          <p:nvPr userDrawn="1"/>
        </p:nvSpPr>
        <p:spPr bwMode="auto">
          <a:xfrm>
            <a:off x="276578" y="-192617"/>
            <a:ext cx="541867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02306" y="6352467"/>
            <a:ext cx="1137920" cy="379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13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084">
          <p15:clr>
            <a:srgbClr val="FBAE40"/>
          </p15:clr>
        </p15:guide>
        <p15:guide id="2" pos="3564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CL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754" y="0"/>
            <a:ext cx="12183246" cy="68470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 t="10001" r="-68" b="20676"/>
          <a:stretch/>
        </p:blipFill>
        <p:spPr>
          <a:xfrm>
            <a:off x="8754" y="-16476"/>
            <a:ext cx="12192000" cy="42260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8000" y="4352398"/>
            <a:ext cx="11303001" cy="1460500"/>
          </a:xfrm>
          <a:prstGeom prst="rect">
            <a:avLst/>
          </a:prstGeom>
        </p:spPr>
        <p:txBody>
          <a:bodyPr lIns="57150" tIns="28575" rIns="57150" bIns="28575" anchor="b"/>
          <a:lstStyle>
            <a:lvl1pPr algn="ctr">
              <a:defRPr b="0">
                <a:solidFill>
                  <a:srgbClr val="0070AF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8000" y="5876398"/>
            <a:ext cx="11303001" cy="473604"/>
          </a:xfrm>
          <a:prstGeom prst="rect">
            <a:avLst/>
          </a:prstGeom>
        </p:spPr>
        <p:txBody>
          <a:bodyPr lIns="57150" tIns="28575" rIns="57150" bIns="28575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004646" y="0"/>
            <a:ext cx="2176137" cy="1243469"/>
            <a:chOff x="6119075" y="0"/>
            <a:chExt cx="2402752" cy="1372958"/>
          </a:xfrm>
        </p:grpSpPr>
        <p:sp>
          <p:nvSpPr>
            <p:cNvPr id="21" name="Chevron 20"/>
            <p:cNvSpPr/>
            <p:nvPr userDrawn="1"/>
          </p:nvSpPr>
          <p:spPr>
            <a:xfrm rot="16200000">
              <a:off x="6825150" y="-323717"/>
              <a:ext cx="990600" cy="2402750"/>
            </a:xfrm>
            <a:prstGeom prst="chevron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5F5F5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6119077" y="0"/>
              <a:ext cx="2402750" cy="877659"/>
            </a:xfrm>
            <a:prstGeom prst="rect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16259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9726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" y="1499616"/>
            <a:ext cx="10972800" cy="4669536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buClr>
                <a:srgbClr val="0070AF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70AF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70AF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70AF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70AF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182880"/>
            <a:ext cx="10972800" cy="12192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80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1" y="177800"/>
            <a:ext cx="11049001" cy="8128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609601" y="990600"/>
            <a:ext cx="10947401" cy="40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94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AAFF8-7E50-4C54-928A-8AA64EA6B8C2}" type="datetimeFigureOut">
              <a:rPr lang="en-US" smtClean="0"/>
              <a:t>7/20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306DE-743B-4CFF-8D3B-A762D9B568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37858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1" y="177800"/>
            <a:ext cx="11049001" cy="8128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171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AF"/>
              </a:buClr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2" y="1841500"/>
            <a:ext cx="5524500" cy="4191000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buClr>
                <a:srgbClr val="0070AF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70AF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70AF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70AF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70AF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2" y="275167"/>
            <a:ext cx="5524500" cy="1439333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5842000" cy="6223000"/>
          </a:xfrm>
          <a:prstGeom prst="rect">
            <a:avLst/>
          </a:prstGeom>
        </p:spPr>
        <p:txBody>
          <a:bodyPr lIns="57150" tIns="28575" rIns="57150" bIns="28575"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17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CL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4889502"/>
            <a:ext cx="12192000" cy="1968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1" name="Freeform 6"/>
          <p:cNvSpPr/>
          <p:nvPr/>
        </p:nvSpPr>
        <p:spPr bwMode="auto">
          <a:xfrm>
            <a:off x="0" y="-3174"/>
            <a:ext cx="12192000" cy="5203825"/>
          </a:xfrm>
          <a:custGeom>
            <a:avLst/>
            <a:gdLst/>
            <a:ahLst/>
            <a:cxnLst/>
            <a:rect l="0" t="0" r="r" b="b"/>
            <a:pathLst>
              <a:path w="5760" h="3278">
                <a:moveTo>
                  <a:pt x="5760" y="0"/>
                </a:moveTo>
                <a:lnTo>
                  <a:pt x="0" y="0"/>
                </a:lnTo>
                <a:lnTo>
                  <a:pt x="0" y="3090"/>
                </a:lnTo>
                <a:lnTo>
                  <a:pt x="943" y="3090"/>
                </a:lnTo>
                <a:lnTo>
                  <a:pt x="1123" y="3270"/>
                </a:lnTo>
                <a:lnTo>
                  <a:pt x="1123" y="3270"/>
                </a:lnTo>
                <a:lnTo>
                  <a:pt x="1127" y="3272"/>
                </a:lnTo>
                <a:lnTo>
                  <a:pt x="1133" y="3275"/>
                </a:lnTo>
                <a:lnTo>
                  <a:pt x="1139" y="3278"/>
                </a:lnTo>
                <a:lnTo>
                  <a:pt x="1144" y="3278"/>
                </a:lnTo>
                <a:lnTo>
                  <a:pt x="1150" y="3278"/>
                </a:lnTo>
                <a:lnTo>
                  <a:pt x="1155" y="3275"/>
                </a:lnTo>
                <a:lnTo>
                  <a:pt x="1161" y="3272"/>
                </a:lnTo>
                <a:lnTo>
                  <a:pt x="1165" y="3270"/>
                </a:lnTo>
                <a:lnTo>
                  <a:pt x="1345" y="3090"/>
                </a:lnTo>
                <a:lnTo>
                  <a:pt x="5760" y="3090"/>
                </a:lnTo>
                <a:lnTo>
                  <a:pt x="5760" y="0"/>
                </a:lnTo>
                <a:close/>
              </a:path>
            </a:pathLst>
          </a:custGeom>
          <a:solidFill>
            <a:srgbClr val="0070AF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0002" y="1449148"/>
            <a:ext cx="10572000" cy="2971051"/>
          </a:xfrm>
          <a:prstGeom prst="rect">
            <a:avLst/>
          </a:prstGeom>
        </p:spPr>
        <p:txBody>
          <a:bodyPr lIns="57150" tIns="28575" rIns="57150" bIns="28575" anchor="b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0002" y="5461002"/>
            <a:ext cx="10572000" cy="434975"/>
          </a:xfrm>
          <a:prstGeom prst="rect">
            <a:avLst/>
          </a:prstGeom>
        </p:spPr>
        <p:txBody>
          <a:bodyPr lIns="57150" tIns="28575" rIns="57150" bIns="28575" anchor="t">
            <a:noAutofit/>
          </a:bodyPr>
          <a:lstStyle>
            <a:lvl1pPr marL="0" indent="0" algn="l">
              <a:buNone/>
              <a:defRPr sz="2500">
                <a:solidFill>
                  <a:schemeClr val="tx1"/>
                </a:solidFill>
              </a:defRPr>
            </a:lvl1pPr>
            <a:lvl2pPr marL="342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757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189" y="16677"/>
            <a:ext cx="10969214" cy="101188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half" idx="2"/>
          </p:nvPr>
        </p:nvSpPr>
        <p:spPr>
          <a:xfrm>
            <a:off x="8185521" y="1200727"/>
            <a:ext cx="3981851" cy="539919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8163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Arial" pitchFamily="34" charset="0"/>
              <a:buNone/>
              <a:tabLst/>
              <a:defRPr sz="1333" u="none" baseline="0">
                <a:solidFill>
                  <a:srgbClr val="000000"/>
                </a:solidFill>
                <a:latin typeface="+mn-lt"/>
              </a:defRPr>
            </a:lvl1pPr>
          </a:lstStyle>
          <a:p>
            <a:pPr marL="0" indent="0" algn="ctr">
              <a:buNone/>
            </a:pPr>
            <a:endParaRPr lang="en-US" sz="1351" dirty="0"/>
          </a:p>
        </p:txBody>
      </p:sp>
      <p:sp>
        <p:nvSpPr>
          <p:cNvPr id="4" name="AutoShape 4" descr="https://portholes.princess.com/sites/default/files/princess_templates_logos/download/Princess_Cruises_Brandmark_Black_2016.jpg"/>
          <p:cNvSpPr>
            <a:spLocks noChangeAspect="1" noChangeArrowheads="1"/>
          </p:cNvSpPr>
          <p:nvPr userDrawn="1"/>
        </p:nvSpPr>
        <p:spPr bwMode="auto">
          <a:xfrm>
            <a:off x="276578" y="-192617"/>
            <a:ext cx="541867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02306" y="6352467"/>
            <a:ext cx="1137920" cy="379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8667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084">
          <p15:clr>
            <a:srgbClr val="FBAE40"/>
          </p15:clr>
        </p15:guide>
        <p15:guide id="2" pos="3564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CL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754" y="0"/>
            <a:ext cx="12183246" cy="68470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 t="10001" r="-68" b="20676"/>
          <a:stretch/>
        </p:blipFill>
        <p:spPr>
          <a:xfrm>
            <a:off x="8754" y="-16476"/>
            <a:ext cx="12192000" cy="42260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8000" y="4352398"/>
            <a:ext cx="11303001" cy="1460500"/>
          </a:xfrm>
          <a:prstGeom prst="rect">
            <a:avLst/>
          </a:prstGeom>
        </p:spPr>
        <p:txBody>
          <a:bodyPr lIns="57150" tIns="28575" rIns="57150" bIns="28575" anchor="b"/>
          <a:lstStyle>
            <a:lvl1pPr algn="ctr">
              <a:defRPr b="0">
                <a:solidFill>
                  <a:srgbClr val="0070AF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8000" y="5876398"/>
            <a:ext cx="11303001" cy="473604"/>
          </a:xfrm>
          <a:prstGeom prst="rect">
            <a:avLst/>
          </a:prstGeom>
        </p:spPr>
        <p:txBody>
          <a:bodyPr lIns="57150" tIns="28575" rIns="57150" bIns="28575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004646" y="0"/>
            <a:ext cx="2176137" cy="1243469"/>
            <a:chOff x="6119075" y="0"/>
            <a:chExt cx="2402752" cy="1372958"/>
          </a:xfrm>
        </p:grpSpPr>
        <p:sp>
          <p:nvSpPr>
            <p:cNvPr id="21" name="Chevron 20"/>
            <p:cNvSpPr/>
            <p:nvPr userDrawn="1"/>
          </p:nvSpPr>
          <p:spPr>
            <a:xfrm rot="16200000">
              <a:off x="6825150" y="-323717"/>
              <a:ext cx="990600" cy="2402750"/>
            </a:xfrm>
            <a:prstGeom prst="chevron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5F5F5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6119077" y="0"/>
              <a:ext cx="2402750" cy="877659"/>
            </a:xfrm>
            <a:prstGeom prst="rect">
              <a:avLst/>
            </a:prstGeom>
            <a:solidFill>
              <a:srgbClr val="007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16259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72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" y="1499616"/>
            <a:ext cx="10972800" cy="4669536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buClr>
                <a:srgbClr val="0070AF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70AF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70AF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70AF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70AF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182880"/>
            <a:ext cx="10972800" cy="12192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87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1" y="177800"/>
            <a:ext cx="11049001" cy="8128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609601" y="990600"/>
            <a:ext cx="10947401" cy="40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083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1" y="177800"/>
            <a:ext cx="11049001" cy="812800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99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CL_Layout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12192000" cy="6223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AF"/>
              </a:buClr>
            </a:pP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2" y="1841500"/>
            <a:ext cx="5524500" cy="4191000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buClr>
                <a:srgbClr val="0070AF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70AF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70AF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70AF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70AF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2" y="275167"/>
            <a:ext cx="5524500" cy="1439333"/>
          </a:xfrm>
          <a:prstGeom prst="rect">
            <a:avLst/>
          </a:prstGeom>
        </p:spPr>
        <p:txBody>
          <a:bodyPr lIns="57150" tIns="28575" rIns="57150" bIns="28575" anchor="b"/>
          <a:lstStyle>
            <a:lvl1pPr>
              <a:defRPr>
                <a:solidFill>
                  <a:srgbClr val="0070A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5842000" cy="6223000"/>
          </a:xfrm>
          <a:prstGeom prst="rect">
            <a:avLst/>
          </a:prstGeom>
        </p:spPr>
        <p:txBody>
          <a:bodyPr lIns="57150" tIns="28575" rIns="57150" bIns="28575"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6194494"/>
            <a:ext cx="12192000" cy="671572"/>
          </a:xfrm>
          <a:prstGeom prst="rect">
            <a:avLst/>
          </a:prstGeom>
          <a:solidFill>
            <a:srgbClr val="007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11557002" y="6330295"/>
            <a:ext cx="420414" cy="420415"/>
          </a:xfrm>
          <a:prstGeom prst="ellipse">
            <a:avLst/>
          </a:prstGeom>
          <a:solidFill>
            <a:srgbClr val="0091E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7002" y="6403210"/>
            <a:ext cx="420414" cy="264292"/>
          </a:xfrm>
          <a:prstGeom prst="rect">
            <a:avLst/>
          </a:prstGeom>
        </p:spPr>
        <p:txBody>
          <a:bodyPr vert="horz" wrap="square" lIns="57150" tIns="28575" rIns="57150" bIns="28575" numCol="1" anchor="ctr" anchorCtr="0" compatLnSpc="1">
            <a:prstTxWarp prst="textNoShape">
              <a:avLst/>
            </a:prstTxWarp>
          </a:bodyPr>
          <a:lstStyle>
            <a:lvl1pPr algn="ctr">
              <a:defRPr sz="800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18D29D-AAC0-4C27-B9BE-B09295871DA1}" type="slidenum">
              <a:rPr lang="en-US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6281858"/>
            <a:ext cx="1828800" cy="50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982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CL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4889502"/>
            <a:ext cx="12192000" cy="1968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1" tIns="28575" rIns="57151" bIns="2857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1" name="Freeform 6"/>
          <p:cNvSpPr/>
          <p:nvPr/>
        </p:nvSpPr>
        <p:spPr bwMode="auto">
          <a:xfrm>
            <a:off x="0" y="-3174"/>
            <a:ext cx="12192000" cy="5203825"/>
          </a:xfrm>
          <a:custGeom>
            <a:avLst/>
            <a:gdLst/>
            <a:ahLst/>
            <a:cxnLst/>
            <a:rect l="0" t="0" r="r" b="b"/>
            <a:pathLst>
              <a:path w="5760" h="3278">
                <a:moveTo>
                  <a:pt x="5760" y="0"/>
                </a:moveTo>
                <a:lnTo>
                  <a:pt x="0" y="0"/>
                </a:lnTo>
                <a:lnTo>
                  <a:pt x="0" y="3090"/>
                </a:lnTo>
                <a:lnTo>
                  <a:pt x="943" y="3090"/>
                </a:lnTo>
                <a:lnTo>
                  <a:pt x="1123" y="3270"/>
                </a:lnTo>
                <a:lnTo>
                  <a:pt x="1123" y="3270"/>
                </a:lnTo>
                <a:lnTo>
                  <a:pt x="1127" y="3272"/>
                </a:lnTo>
                <a:lnTo>
                  <a:pt x="1133" y="3275"/>
                </a:lnTo>
                <a:lnTo>
                  <a:pt x="1139" y="3278"/>
                </a:lnTo>
                <a:lnTo>
                  <a:pt x="1144" y="3278"/>
                </a:lnTo>
                <a:lnTo>
                  <a:pt x="1150" y="3278"/>
                </a:lnTo>
                <a:lnTo>
                  <a:pt x="1155" y="3275"/>
                </a:lnTo>
                <a:lnTo>
                  <a:pt x="1161" y="3272"/>
                </a:lnTo>
                <a:lnTo>
                  <a:pt x="1165" y="3270"/>
                </a:lnTo>
                <a:lnTo>
                  <a:pt x="1345" y="3090"/>
                </a:lnTo>
                <a:lnTo>
                  <a:pt x="5760" y="3090"/>
                </a:lnTo>
                <a:lnTo>
                  <a:pt x="5760" y="0"/>
                </a:lnTo>
                <a:close/>
              </a:path>
            </a:pathLst>
          </a:custGeom>
          <a:solidFill>
            <a:srgbClr val="0070AF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0002" y="1449148"/>
            <a:ext cx="10572000" cy="2971051"/>
          </a:xfrm>
          <a:prstGeom prst="rect">
            <a:avLst/>
          </a:prstGeom>
        </p:spPr>
        <p:txBody>
          <a:bodyPr lIns="57150" tIns="28575" rIns="57150" bIns="28575" anchor="b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0002" y="5461002"/>
            <a:ext cx="10572000" cy="434975"/>
          </a:xfrm>
          <a:prstGeom prst="rect">
            <a:avLst/>
          </a:prstGeom>
        </p:spPr>
        <p:txBody>
          <a:bodyPr lIns="57150" tIns="28575" rIns="57150" bIns="28575" anchor="t">
            <a:noAutofit/>
          </a:bodyPr>
          <a:lstStyle>
            <a:lvl1pPr marL="0" indent="0" algn="l">
              <a:buNone/>
              <a:defRPr sz="2500">
                <a:solidFill>
                  <a:schemeClr val="tx1"/>
                </a:solidFill>
              </a:defRPr>
            </a:lvl1pPr>
            <a:lvl2pPr marL="342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019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AAFF8-7E50-4C54-928A-8AA64EA6B8C2}" type="datetimeFigureOut">
              <a:rPr lang="en-US" smtClean="0"/>
              <a:t>7/20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306DE-743B-4CFF-8D3B-A762D9B568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0662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189" y="16677"/>
            <a:ext cx="10969214" cy="101188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half" idx="2"/>
          </p:nvPr>
        </p:nvSpPr>
        <p:spPr>
          <a:xfrm>
            <a:off x="8185521" y="1200727"/>
            <a:ext cx="3981851" cy="539919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8163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Arial" pitchFamily="34" charset="0"/>
              <a:buNone/>
              <a:tabLst/>
              <a:defRPr sz="1333" u="none" baseline="0">
                <a:solidFill>
                  <a:srgbClr val="000000"/>
                </a:solidFill>
                <a:latin typeface="+mn-lt"/>
              </a:defRPr>
            </a:lvl1pPr>
          </a:lstStyle>
          <a:p>
            <a:pPr marL="0" indent="0" algn="ctr">
              <a:buNone/>
            </a:pPr>
            <a:endParaRPr lang="en-US" sz="1351" dirty="0"/>
          </a:p>
        </p:txBody>
      </p:sp>
      <p:sp>
        <p:nvSpPr>
          <p:cNvPr id="4" name="AutoShape 4" descr="https://portholes.princess.com/sites/default/files/princess_templates_logos/download/Princess_Cruises_Brandmark_Black_2016.jpg"/>
          <p:cNvSpPr>
            <a:spLocks noChangeAspect="1" noChangeArrowheads="1"/>
          </p:cNvSpPr>
          <p:nvPr userDrawn="1"/>
        </p:nvSpPr>
        <p:spPr bwMode="auto">
          <a:xfrm>
            <a:off x="276578" y="-192617"/>
            <a:ext cx="541867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5F5F5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02306" y="6352467"/>
            <a:ext cx="1137920" cy="379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5849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084">
          <p15:clr>
            <a:srgbClr val="FBAE40"/>
          </p15:clr>
        </p15:guide>
        <p15:guide id="2" pos="356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AAFF8-7E50-4C54-928A-8AA64EA6B8C2}" type="datetimeFigureOut">
              <a:rPr lang="en-US" smtClean="0"/>
              <a:t>7/20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306DE-743B-4CFF-8D3B-A762D9B568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0055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AAFF8-7E50-4C54-928A-8AA64EA6B8C2}" type="datetimeFigureOut">
              <a:rPr lang="en-US" smtClean="0"/>
              <a:t>7/20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306DE-743B-4CFF-8D3B-A762D9B568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9650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8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26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25.xml"/><Relationship Id="rId9" Type="http://schemas.openxmlformats.org/officeDocument/2006/relationships/vmlDrawing" Target="../drawings/vmlDrawing2.vml"/><Relationship Id="rId14" Type="http://schemas.openxmlformats.org/officeDocument/2006/relationships/oleObject" Target="../embeddings/oleObject4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33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32.xml"/><Relationship Id="rId9" Type="http://schemas.openxmlformats.org/officeDocument/2006/relationships/vmlDrawing" Target="../drawings/vmlDrawing3.vml"/><Relationship Id="rId14" Type="http://schemas.openxmlformats.org/officeDocument/2006/relationships/oleObject" Target="../embeddings/oleObject6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ags" Target="../tags/tag8.xml"/><Relationship Id="rId5" Type="http://schemas.openxmlformats.org/officeDocument/2006/relationships/slideLayout" Target="../slideLayouts/slideLayout40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39.xml"/><Relationship Id="rId9" Type="http://schemas.openxmlformats.org/officeDocument/2006/relationships/vmlDrawing" Target="../drawings/vmlDrawing4.vml"/><Relationship Id="rId14" Type="http://schemas.openxmlformats.org/officeDocument/2006/relationships/oleObject" Target="../embeddings/oleObject8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oleObject" Target="../embeddings/oleObject9.bin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47.xml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46.xml"/><Relationship Id="rId9" Type="http://schemas.openxmlformats.org/officeDocument/2006/relationships/vmlDrawing" Target="../drawings/vmlDrawing5.vml"/><Relationship Id="rId14" Type="http://schemas.openxmlformats.org/officeDocument/2006/relationships/oleObject" Target="../embeddings/oleObject10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ags" Target="../tags/tag12.xml"/><Relationship Id="rId5" Type="http://schemas.openxmlformats.org/officeDocument/2006/relationships/slideLayout" Target="../slideLayouts/slideLayout54.xml"/><Relationship Id="rId10" Type="http://schemas.openxmlformats.org/officeDocument/2006/relationships/tags" Target="../tags/tag11.xml"/><Relationship Id="rId4" Type="http://schemas.openxmlformats.org/officeDocument/2006/relationships/slideLayout" Target="../slideLayouts/slideLayout53.xml"/><Relationship Id="rId9" Type="http://schemas.openxmlformats.org/officeDocument/2006/relationships/vmlDrawing" Target="../drawings/vmlDrawing6.vml"/><Relationship Id="rId14" Type="http://schemas.openxmlformats.org/officeDocument/2006/relationships/oleObject" Target="../embeddings/oleObject12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oleObject" Target="../embeddings/oleObject13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ags" Target="../tags/tag14.xml"/><Relationship Id="rId5" Type="http://schemas.openxmlformats.org/officeDocument/2006/relationships/slideLayout" Target="../slideLayouts/slideLayout61.xml"/><Relationship Id="rId10" Type="http://schemas.openxmlformats.org/officeDocument/2006/relationships/tags" Target="../tags/tag13.xml"/><Relationship Id="rId4" Type="http://schemas.openxmlformats.org/officeDocument/2006/relationships/slideLayout" Target="../slideLayouts/slideLayout60.xml"/><Relationship Id="rId9" Type="http://schemas.openxmlformats.org/officeDocument/2006/relationships/vmlDrawing" Target="../drawings/vmlDrawing7.vml"/><Relationship Id="rId14" Type="http://schemas.openxmlformats.org/officeDocument/2006/relationships/oleObject" Target="../embeddings/oleObject14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oleObject" Target="../embeddings/oleObject15.bin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68.xml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67.xml"/><Relationship Id="rId9" Type="http://schemas.openxmlformats.org/officeDocument/2006/relationships/vmlDrawing" Target="../drawings/vmlDrawing8.vml"/><Relationship Id="rId14" Type="http://schemas.openxmlformats.org/officeDocument/2006/relationships/oleObject" Target="../embeddings/oleObject1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2AAFF8-7E50-4C54-928A-8AA64EA6B8C2}" type="datetimeFigureOut">
              <a:rPr lang="en-US" smtClean="0"/>
              <a:t>7/2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6306DE-743B-4CFF-8D3B-A762D9B568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155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43696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816368" rtl="0" eaLnBrk="1" latinLnBrk="0" hangingPunct="1">
        <a:spcBef>
          <a:spcPct val="0"/>
        </a:spcBef>
        <a:buNone/>
        <a:defRPr sz="3000" kern="1200" spc="-89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63275" indent="-163275" algn="l" defTabSz="816368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1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1pPr>
      <a:lvl2pPr marL="408184" indent="-163275" algn="l" defTabSz="816368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18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653094" indent="-163275" algn="l" defTabSz="816368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898004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061277" indent="-122456" algn="l" defTabSz="816368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3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1224552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387824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551099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714372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84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68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52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735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918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101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86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469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66136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816368" rtl="0" eaLnBrk="1" latinLnBrk="0" hangingPunct="1">
        <a:spcBef>
          <a:spcPct val="0"/>
        </a:spcBef>
        <a:buNone/>
        <a:defRPr sz="3000" kern="1200" spc="-89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63275" indent="-163275" algn="l" defTabSz="816368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1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1pPr>
      <a:lvl2pPr marL="408184" indent="-163275" algn="l" defTabSz="816368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18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653094" indent="-163275" algn="l" defTabSz="816368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898004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061277" indent="-122456" algn="l" defTabSz="816368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3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1224552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387824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551099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714372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84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68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52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735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918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101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86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469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21239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816368" rtl="0" eaLnBrk="1" latinLnBrk="0" hangingPunct="1">
        <a:spcBef>
          <a:spcPct val="0"/>
        </a:spcBef>
        <a:buNone/>
        <a:defRPr sz="3000" kern="1200" spc="-89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63275" indent="-163275" algn="l" defTabSz="816368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1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1pPr>
      <a:lvl2pPr marL="408184" indent="-163275" algn="l" defTabSz="816368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18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653094" indent="-163275" algn="l" defTabSz="816368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898004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061277" indent="-122456" algn="l" defTabSz="816368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3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1224552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387824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551099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714372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84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68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52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735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918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101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86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469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16996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816368" rtl="0" eaLnBrk="1" latinLnBrk="0" hangingPunct="1">
        <a:spcBef>
          <a:spcPct val="0"/>
        </a:spcBef>
        <a:buNone/>
        <a:defRPr sz="3000" kern="1200" spc="-89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63275" indent="-163275" algn="l" defTabSz="816368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1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1pPr>
      <a:lvl2pPr marL="408184" indent="-163275" algn="l" defTabSz="816368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18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653094" indent="-163275" algn="l" defTabSz="816368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898004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061277" indent="-122456" algn="l" defTabSz="816368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3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1224552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387824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551099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714372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84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68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52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735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918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101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86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469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87606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816368" rtl="0" eaLnBrk="1" latinLnBrk="0" hangingPunct="1">
        <a:spcBef>
          <a:spcPct val="0"/>
        </a:spcBef>
        <a:buNone/>
        <a:defRPr sz="3000" kern="1200" spc="-89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63275" indent="-163275" algn="l" defTabSz="816368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1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1pPr>
      <a:lvl2pPr marL="408184" indent="-163275" algn="l" defTabSz="816368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18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653094" indent="-163275" algn="l" defTabSz="816368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898004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061277" indent="-122456" algn="l" defTabSz="816368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3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1224552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387824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551099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714372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84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68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52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735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918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101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86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469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0570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816368" rtl="0" eaLnBrk="1" latinLnBrk="0" hangingPunct="1">
        <a:spcBef>
          <a:spcPct val="0"/>
        </a:spcBef>
        <a:buNone/>
        <a:defRPr sz="3000" kern="1200" spc="-89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63275" indent="-163275" algn="l" defTabSz="816368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1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1pPr>
      <a:lvl2pPr marL="408184" indent="-163275" algn="l" defTabSz="816368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18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653094" indent="-163275" algn="l" defTabSz="816368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898004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061277" indent="-122456" algn="l" defTabSz="816368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3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1224552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387824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551099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714372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84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68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52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735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918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101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86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469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88239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816368" rtl="0" eaLnBrk="1" latinLnBrk="0" hangingPunct="1">
        <a:spcBef>
          <a:spcPct val="0"/>
        </a:spcBef>
        <a:buNone/>
        <a:defRPr sz="3000" kern="1200" spc="-89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63275" indent="-163275" algn="l" defTabSz="816368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1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1pPr>
      <a:lvl2pPr marL="408184" indent="-163275" algn="l" defTabSz="816368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18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653094" indent="-163275" algn="l" defTabSz="816368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898004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061277" indent="-122456" algn="l" defTabSz="816368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3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1224552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387824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551099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714372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84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68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52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735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918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101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86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469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53997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816368" rtl="0" eaLnBrk="1" latinLnBrk="0" hangingPunct="1">
        <a:spcBef>
          <a:spcPct val="0"/>
        </a:spcBef>
        <a:buNone/>
        <a:defRPr sz="3000" kern="1200" spc="-89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63275" indent="-163275" algn="l" defTabSz="816368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1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1pPr>
      <a:lvl2pPr marL="408184" indent="-163275" algn="l" defTabSz="816368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18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653094" indent="-163275" algn="l" defTabSz="816368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898004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061277" indent="-122456" algn="l" defTabSz="816368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3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1224552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387824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551099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714372" indent="-163275" algn="l" defTabSz="81636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84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68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52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735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918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101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86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469" algn="l" defTabSz="8163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image" Target="../media/image7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png"/><Relationship Id="rId5" Type="http://schemas.openxmlformats.org/officeDocument/2006/relationships/image" Target="../media/image19.png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3.png"/><Relationship Id="rId4" Type="http://schemas.openxmlformats.org/officeDocument/2006/relationships/image" Target="../media/image21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3" Type="http://schemas.openxmlformats.org/officeDocument/2006/relationships/image" Target="../media/image7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png"/><Relationship Id="rId5" Type="http://schemas.openxmlformats.org/officeDocument/2006/relationships/image" Target="../media/image19.png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3.jpe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9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13.png"/><Relationship Id="rId9" Type="http://schemas.openxmlformats.org/officeDocument/2006/relationships/image" Target="../media/image25.jp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19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5" Type="http://schemas.openxmlformats.org/officeDocument/2006/relationships/image" Target="../media/image11.png"/><Relationship Id="rId4" Type="http://schemas.openxmlformats.org/officeDocument/2006/relationships/image" Target="../media/image13.png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7.png"/><Relationship Id="rId5" Type="http://schemas.openxmlformats.org/officeDocument/2006/relationships/image" Target="../media/image13.png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g"/><Relationship Id="rId3" Type="http://schemas.openxmlformats.org/officeDocument/2006/relationships/image" Target="../media/image7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png"/><Relationship Id="rId5" Type="http://schemas.openxmlformats.org/officeDocument/2006/relationships/image" Target="../media/image19.pn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jpeg"/><Relationship Id="rId5" Type="http://schemas.openxmlformats.org/officeDocument/2006/relationships/image" Target="../media/image15.png"/><Relationship Id="rId4" Type="http://schemas.openxmlformats.org/officeDocument/2006/relationships/image" Target="../media/image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0.jpeg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png"/><Relationship Id="rId5" Type="http://schemas.openxmlformats.org/officeDocument/2006/relationships/image" Target="../media/image19.png"/><Relationship Id="rId10" Type="http://schemas.openxmlformats.org/officeDocument/2006/relationships/image" Target="../media/image8.png"/><Relationship Id="rId4" Type="http://schemas.openxmlformats.org/officeDocument/2006/relationships/image" Target="../media/image31.jpeg"/><Relationship Id="rId9" Type="http://schemas.openxmlformats.org/officeDocument/2006/relationships/image" Target="../media/image14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32.jpeg"/><Relationship Id="rId4" Type="http://schemas.openxmlformats.org/officeDocument/2006/relationships/image" Target="../media/image1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34.jpe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35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12.png"/><Relationship Id="rId5" Type="http://schemas.openxmlformats.org/officeDocument/2006/relationships/image" Target="../media/image8.png"/><Relationship Id="rId4" Type="http://schemas.openxmlformats.org/officeDocument/2006/relationships/image" Target="../media/image1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37.jpeg"/><Relationship Id="rId4" Type="http://schemas.openxmlformats.org/officeDocument/2006/relationships/image" Target="../media/image1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38.jpeg"/><Relationship Id="rId5" Type="http://schemas.openxmlformats.org/officeDocument/2006/relationships/image" Target="../media/image8.png"/><Relationship Id="rId4" Type="http://schemas.openxmlformats.org/officeDocument/2006/relationships/image" Target="../media/image1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1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40.jpeg"/><Relationship Id="rId4" Type="http://schemas.openxmlformats.org/officeDocument/2006/relationships/image" Target="../media/image1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41.jpeg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8.png"/><Relationship Id="rId5" Type="http://schemas.openxmlformats.org/officeDocument/2006/relationships/image" Target="../media/image13.png"/><Relationship Id="rId4" Type="http://schemas.openxmlformats.org/officeDocument/2006/relationships/image" Target="../media/image19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14.png"/><Relationship Id="rId5" Type="http://schemas.openxmlformats.org/officeDocument/2006/relationships/image" Target="../media/image8.png"/><Relationship Id="rId4" Type="http://schemas.openxmlformats.org/officeDocument/2006/relationships/image" Target="../media/image19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pn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8.png"/><Relationship Id="rId4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png"/><Relationship Id="rId5" Type="http://schemas.openxmlformats.org/officeDocument/2006/relationships/image" Target="../media/image19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76" y="5397500"/>
            <a:ext cx="12191999" cy="1460500"/>
          </a:xfrm>
        </p:spPr>
        <p:txBody>
          <a:bodyPr>
            <a:noAutofit/>
          </a:bodyPr>
          <a:lstStyle/>
          <a:p>
            <a:r>
              <a:rPr lang="en-US" sz="6000" dirty="0" smtClean="0">
                <a:latin typeface="+mn-lt"/>
                <a:cs typeface="Arial" panose="020B0604020202020204" pitchFamily="34" charset="0"/>
              </a:rPr>
              <a:t>Main Dining Room                                 Top 10 2.0 plus Italian                     Menu Item Descriptions</a:t>
            </a:r>
            <a:endParaRPr lang="en-US" sz="6000" u="sng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747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93172"/>
          </a:xfrm>
        </p:spPr>
        <p:txBody>
          <a:bodyPr>
            <a:noAutofit/>
          </a:bodyPr>
          <a:lstStyle/>
          <a:p>
            <a:pPr algn="ctr"/>
            <a:r>
              <a:rPr lang="en-US" b="1" dirty="0" smtClean="0"/>
              <a:t>Cal-Mex Burger </a:t>
            </a:r>
            <a:r>
              <a:rPr lang="en-US" sz="2400" b="1" dirty="0"/>
              <a:t>by Ernesto Uchimura</a:t>
            </a:r>
            <a:br>
              <a:rPr lang="en-US" sz="2400" b="1" dirty="0"/>
            </a:br>
            <a:r>
              <a:rPr lang="en-US" sz="3200" b="1" dirty="0"/>
              <a:t>avocado, provolone cheese, </a:t>
            </a:r>
            <a:r>
              <a:rPr lang="en-US" sz="3200" b="1" dirty="0" err="1"/>
              <a:t>poblano</a:t>
            </a:r>
            <a:r>
              <a:rPr lang="en-US" sz="3200" b="1" dirty="0"/>
              <a:t> chilies, jalapeño aioli, French fries</a:t>
            </a:r>
            <a:endParaRPr lang="en-US" sz="3200" b="1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299466" y="1093172"/>
            <a:ext cx="2873010" cy="5506749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/>
            <a:r>
              <a:rPr lang="en-US" b="1" u="sng" dirty="0"/>
              <a:t>Flavor 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</a:rPr>
              <a:t>Ernesto’s burgers feature a blend of rib eye steak &amp; beef short rib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</a:rPr>
              <a:t>Freshly baked brioche bun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</a:rPr>
              <a:t>Topped with avocado slices, roasted green chilies, provolone cheese and a unique jalapeno aioli.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</a:rPr>
              <a:t>Served with French fries</a:t>
            </a:r>
          </a:p>
          <a:p>
            <a:pPr marL="162980" lvl="1" indent="-162980">
              <a:spcBef>
                <a:spcPts val="0"/>
              </a:spcBef>
            </a:pPr>
            <a:endParaRPr lang="en-US" sz="1200" dirty="0">
              <a:solidFill>
                <a:srgbClr val="000000"/>
              </a:solidFill>
            </a:endParaRPr>
          </a:p>
          <a:p>
            <a:pPr algn="l"/>
            <a:r>
              <a:rPr lang="en-US" b="1" u="sng" dirty="0" smtClean="0"/>
              <a:t>Menu Explanation</a:t>
            </a:r>
            <a:endParaRPr lang="en-US" b="1" u="sng" dirty="0"/>
          </a:p>
          <a:p>
            <a:pPr marL="162980" lvl="1" indent="-162980"/>
            <a:r>
              <a:rPr lang="en-US" sz="1200" dirty="0">
                <a:solidFill>
                  <a:srgbClr val="000000"/>
                </a:solidFill>
              </a:rPr>
              <a:t>Part of a unique collection of burgers made exclusively for Princess, this burger captures the flavors of California with its avocado, chilies &amp; unique aioli</a:t>
            </a:r>
          </a:p>
          <a:p>
            <a:pPr marL="162980" lvl="1" indent="-162980"/>
            <a:r>
              <a:rPr lang="en-US" sz="1200" dirty="0">
                <a:solidFill>
                  <a:srgbClr val="000000"/>
                </a:solidFill>
              </a:rPr>
              <a:t>.</a:t>
            </a:r>
            <a:endParaRPr lang="en-US" sz="1200" b="1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/>
              <a:t>Terminology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b="1" u="sng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u="sng" dirty="0" smtClean="0"/>
              <a:t>Aioli</a:t>
            </a:r>
            <a:r>
              <a:rPr lang="en-US" dirty="0" smtClean="0"/>
              <a:t> – A base sauce made of garlic and olive oil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u="sng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/>
              <a:t>Allergens</a:t>
            </a:r>
            <a:endParaRPr lang="en-US" b="1" u="sng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u="sng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9950" y="6333221"/>
            <a:ext cx="2832100" cy="5334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47853" y="5124768"/>
            <a:ext cx="631395" cy="66635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69774" y="5117695"/>
            <a:ext cx="644800" cy="68050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88697" y="5117695"/>
            <a:ext cx="623712" cy="66746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1939" y="5117695"/>
            <a:ext cx="618549" cy="666357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82379" y="6415255"/>
            <a:ext cx="19677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0070AF"/>
                </a:solidFill>
              </a:rPr>
              <a:t>Captain’s Welcom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8473" y="1093172"/>
            <a:ext cx="6638236" cy="502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95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868351"/>
            <a:ext cx="12192000" cy="2706871"/>
          </a:xfrm>
        </p:spPr>
        <p:txBody>
          <a:bodyPr>
            <a:normAutofit/>
          </a:bodyPr>
          <a:lstStyle/>
          <a:p>
            <a:pPr algn="ctr"/>
            <a:r>
              <a:rPr lang="en-US" sz="6000" u="sng" dirty="0" smtClean="0">
                <a:latin typeface="Calibri" panose="020F0502020204030204" pitchFamily="34" charset="0"/>
              </a:rPr>
              <a:t>Dinner 3</a:t>
            </a:r>
            <a:endParaRPr lang="en-US" sz="6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728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677"/>
            <a:ext cx="12192000" cy="1011888"/>
          </a:xfrm>
        </p:spPr>
        <p:txBody>
          <a:bodyPr>
            <a:noAutofit/>
          </a:bodyPr>
          <a:lstStyle/>
          <a:p>
            <a:pPr algn="ctr"/>
            <a:r>
              <a:rPr lang="en-US" b="1" dirty="0"/>
              <a:t>Bacon-Wrapped Pork Terrine</a:t>
            </a:r>
            <a:br>
              <a:rPr lang="en-US" b="1" dirty="0"/>
            </a:br>
            <a:r>
              <a:rPr lang="en-US" sz="3200" b="1" dirty="0"/>
              <a:t>pickled vegetables, whole grain mustard, baguette</a:t>
            </a:r>
            <a:endParaRPr lang="en-US" sz="3200" b="1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255214" y="1028565"/>
            <a:ext cx="2905979" cy="5399195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/>
            <a:r>
              <a:rPr lang="en-US" b="1" u="sng" dirty="0">
                <a:solidFill>
                  <a:schemeClr val="tx1">
                    <a:lumMod val="50000"/>
                  </a:schemeClr>
                </a:solidFill>
              </a:rPr>
              <a:t>Flavor 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</a:rPr>
              <a:t>Country style pate wrapped in bacon and seasoned with garlic, pepper, onion, parsley &amp; brandy.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</a:rPr>
              <a:t>Toasted baguette slice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</a:rPr>
              <a:t>Whole grain mustard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</a:rPr>
              <a:t>Tart pickled crispy vegetables</a:t>
            </a:r>
          </a:p>
          <a:p>
            <a:pPr marL="162980" lvl="1" indent="-162980">
              <a:spcBef>
                <a:spcPts val="0"/>
              </a:spcBef>
            </a:pPr>
            <a:endParaRPr lang="en-US" sz="400" b="1" dirty="0">
              <a:solidFill>
                <a:schemeClr val="tx1">
                  <a:lumMod val="50000"/>
                </a:schemeClr>
              </a:solidFill>
            </a:endParaRPr>
          </a:p>
          <a:p>
            <a:pPr algn="l"/>
            <a:r>
              <a:rPr lang="en-US" b="1" u="sng" dirty="0">
                <a:solidFill>
                  <a:schemeClr val="tx1">
                    <a:lumMod val="50000"/>
                  </a:schemeClr>
                </a:solidFill>
              </a:rPr>
              <a:t>Menu Explanation</a:t>
            </a:r>
          </a:p>
          <a:p>
            <a:pPr marL="162980" lvl="1" indent="-162980"/>
            <a:r>
              <a:rPr lang="en-US" sz="1333" dirty="0">
                <a:solidFill>
                  <a:schemeClr val="tx1">
                    <a:lumMod val="50000"/>
                  </a:schemeClr>
                </a:solidFill>
              </a:rPr>
              <a:t>This country style pork terrine is slow cooked and served chilled with lightly toasted baguette slices and whole grain mustard.</a:t>
            </a:r>
          </a:p>
          <a:p>
            <a:pPr marL="162980" lvl="1" indent="-162980"/>
            <a:endParaRPr lang="en-US" sz="533" dirty="0">
              <a:solidFill>
                <a:schemeClr val="tx1">
                  <a:lumMod val="50000"/>
                </a:schemeClr>
              </a:solidFill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>
                <a:solidFill>
                  <a:schemeClr val="tx1">
                    <a:lumMod val="50000"/>
                  </a:schemeClr>
                </a:solidFill>
              </a:rPr>
              <a:t>Terminology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800" b="1" u="sng" dirty="0">
              <a:solidFill>
                <a:schemeClr val="tx1">
                  <a:lumMod val="50000"/>
                </a:schemeClr>
              </a:solidFill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u="sng" dirty="0">
                <a:solidFill>
                  <a:schemeClr val="tx1">
                    <a:lumMod val="50000"/>
                  </a:schemeClr>
                </a:solidFill>
              </a:rPr>
              <a:t>Giardiniera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 - a mix 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</a:rPr>
              <a:t>of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carrots, celery, cauliflower and colorful vegetables pickled at their height of flavor to preserve their garden 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</a:rPr>
              <a:t>freshness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667" dirty="0">
              <a:solidFill>
                <a:schemeClr val="tx1">
                  <a:lumMod val="50000"/>
                </a:schemeClr>
              </a:solidFill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</a:rPr>
              <a:t>Allergens</a:t>
            </a:r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u="sng" dirty="0">
              <a:solidFill>
                <a:srgbClr val="20275B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4946" y="6427760"/>
            <a:ext cx="101502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67" dirty="0">
                <a:solidFill>
                  <a:srgbClr val="0070AF"/>
                </a:solidFill>
              </a:rPr>
              <a:t>Dinner 3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5174" y="5102813"/>
            <a:ext cx="644800" cy="68050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2" r="11578" b="1911"/>
          <a:stretch/>
        </p:blipFill>
        <p:spPr>
          <a:xfrm>
            <a:off x="2936785" y="1028565"/>
            <a:ext cx="6318430" cy="485469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33968" y="5102812"/>
            <a:ext cx="623712" cy="680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221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1093172"/>
          </a:xfrm>
        </p:spPr>
        <p:txBody>
          <a:bodyPr>
            <a:noAutofit/>
          </a:bodyPr>
          <a:lstStyle/>
          <a:p>
            <a:pPr algn="ctr"/>
            <a:r>
              <a:rPr lang="en-US" sz="4800" b="1" dirty="0" smtClean="0"/>
              <a:t>Chimichurri Burger </a:t>
            </a:r>
            <a:r>
              <a:rPr lang="en-US" sz="2400" b="1" dirty="0" smtClean="0"/>
              <a:t>by Ernesto </a:t>
            </a:r>
            <a:r>
              <a:rPr lang="en-US" sz="2400" b="1" dirty="0"/>
              <a:t>U</a:t>
            </a:r>
            <a:r>
              <a:rPr lang="en-US" sz="2400" b="1" dirty="0" smtClean="0"/>
              <a:t>chimura</a:t>
            </a:r>
            <a:r>
              <a:rPr lang="en-US" sz="5400" b="1" dirty="0"/>
              <a:t/>
            </a:r>
            <a:br>
              <a:rPr lang="en-US" sz="5400" b="1" dirty="0"/>
            </a:br>
            <a:r>
              <a:rPr lang="en-US" sz="2800" b="1" dirty="0"/>
              <a:t>sun-dried tomato, provolone cheese, shredded zucchini slaw, French fries</a:t>
            </a:r>
            <a:endParaRPr lang="en-US" sz="1800" b="1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176951" y="1093173"/>
            <a:ext cx="2987810" cy="5189370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/>
            <a:r>
              <a:rPr lang="en-US" sz="1600" b="1" u="sng" dirty="0"/>
              <a:t>Flavor 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Ernesto burgers feature a combination of rib eye steak and beef short rib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Freshly baked brioche bun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Zucchini coleslaw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Smoky provolone chees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Chimichurri sauce </a:t>
            </a:r>
          </a:p>
          <a:p>
            <a:pPr marL="0" lvl="1" indent="0">
              <a:spcBef>
                <a:spcPts val="0"/>
              </a:spcBef>
              <a:buNone/>
            </a:pPr>
            <a:endParaRPr lang="en-US" sz="667" b="1" dirty="0">
              <a:solidFill>
                <a:srgbClr val="000000"/>
              </a:solidFill>
            </a:endParaRPr>
          </a:p>
          <a:p>
            <a:pPr marL="0" lvl="1" indent="0">
              <a:spcBef>
                <a:spcPts val="0"/>
              </a:spcBef>
              <a:buNone/>
            </a:pPr>
            <a:r>
              <a:rPr lang="en-US" sz="1600" b="1" u="sng" dirty="0">
                <a:solidFill>
                  <a:srgbClr val="000000"/>
                </a:solidFill>
              </a:rPr>
              <a:t>Menu Explanation</a:t>
            </a:r>
          </a:p>
          <a:p>
            <a:pPr marL="162980" lvl="1" indent="-162980"/>
            <a:r>
              <a:rPr lang="en-US" sz="1333" dirty="0">
                <a:solidFill>
                  <a:srgbClr val="000000"/>
                </a:solidFill>
              </a:rPr>
              <a:t>Part of a unique collection of burgers made exclusively for Princess, this burger combines a juicy patty with sweet, spicy and tangy toppings giving every bite a new flavor sensation. </a:t>
            </a:r>
          </a:p>
          <a:p>
            <a:pPr marL="162980" lvl="1" indent="-162980"/>
            <a:endParaRPr lang="en-US" sz="667" b="1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sz="1600" b="1" u="sng" dirty="0"/>
              <a:t>Terminology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667" b="1" u="sng" dirty="0"/>
          </a:p>
          <a:p>
            <a:pPr marL="256111" indent="-256111" algn="l">
              <a:spcBef>
                <a:spcPts val="0"/>
              </a:spcBef>
            </a:pPr>
            <a:r>
              <a:rPr lang="en-US" u="sng" dirty="0" smtClean="0"/>
              <a:t>Chimichurri</a:t>
            </a:r>
            <a:r>
              <a:rPr lang="en-US" dirty="0" smtClean="0"/>
              <a:t> – a sauce typically </a:t>
            </a:r>
            <a:r>
              <a:rPr lang="en-US" dirty="0"/>
              <a:t>containing parsley, garlic, vinegar, olive oil, and flakes of chili </a:t>
            </a:r>
            <a:r>
              <a:rPr lang="en-US" dirty="0" smtClean="0"/>
              <a:t>pepper</a:t>
            </a:r>
          </a:p>
          <a:p>
            <a:pPr marL="256111" indent="-256111" algn="l">
              <a:spcBef>
                <a:spcPts val="0"/>
              </a:spcBef>
            </a:pPr>
            <a:endParaRPr lang="en-US" sz="667" u="sng" dirty="0"/>
          </a:p>
          <a:p>
            <a:pPr algn="l">
              <a:spcBef>
                <a:spcPts val="0"/>
              </a:spcBef>
            </a:pPr>
            <a:r>
              <a:rPr lang="en-US" sz="1600" b="1" u="sng" dirty="0"/>
              <a:t>Allergens</a:t>
            </a:r>
            <a:endParaRPr lang="en-US" sz="1600" u="sng" dirty="0"/>
          </a:p>
        </p:txBody>
      </p:sp>
      <p:sp>
        <p:nvSpPr>
          <p:cNvPr id="5" name="TextBox 4"/>
          <p:cNvSpPr txBox="1"/>
          <p:nvPr/>
        </p:nvSpPr>
        <p:spPr>
          <a:xfrm>
            <a:off x="83758" y="6410094"/>
            <a:ext cx="101502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67" dirty="0" smtClean="0">
                <a:solidFill>
                  <a:srgbClr val="0070AF"/>
                </a:solidFill>
              </a:rPr>
              <a:t>Dinner 3</a:t>
            </a:r>
            <a:endParaRPr lang="en-US" sz="1867" dirty="0">
              <a:solidFill>
                <a:srgbClr val="0070A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0871" y="6228709"/>
            <a:ext cx="2832100" cy="5334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91585" y="5286980"/>
            <a:ext cx="631395" cy="66635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92083" y="5272832"/>
            <a:ext cx="644800" cy="68050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93638" y="5272832"/>
            <a:ext cx="623712" cy="66746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05986" y="5286980"/>
            <a:ext cx="618549" cy="66635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3707" y="1093173"/>
            <a:ext cx="6803503" cy="4934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369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449148"/>
            <a:ext cx="12192000" cy="2266117"/>
          </a:xfrm>
        </p:spPr>
        <p:txBody>
          <a:bodyPr>
            <a:normAutofit/>
          </a:bodyPr>
          <a:lstStyle/>
          <a:p>
            <a:pPr algn="ctr"/>
            <a:r>
              <a:rPr lang="en-US" sz="6000" u="sng" dirty="0" smtClean="0">
                <a:latin typeface="Calibri" panose="020F0502020204030204" pitchFamily="34" charset="0"/>
              </a:rPr>
              <a:t>Chef’s Dinner</a:t>
            </a:r>
            <a:endParaRPr lang="en-US" sz="6000" u="sng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397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677"/>
            <a:ext cx="12192000" cy="1011888"/>
          </a:xfrm>
        </p:spPr>
        <p:txBody>
          <a:bodyPr>
            <a:noAutofit/>
          </a:bodyPr>
          <a:lstStyle/>
          <a:p>
            <a:pPr algn="ctr"/>
            <a:r>
              <a:rPr lang="it-IT" b="1" dirty="0" smtClean="0"/>
              <a:t>Beef Tenderloin Tips </a:t>
            </a:r>
            <a:r>
              <a:rPr lang="it-IT" b="1" dirty="0" smtClean="0"/>
              <a:t>and </a:t>
            </a:r>
            <a:r>
              <a:rPr lang="it-IT" b="1" dirty="0"/>
              <a:t>Mushroom Cobbler</a:t>
            </a:r>
            <a:r>
              <a:rPr lang="it-IT" sz="4000" b="1" dirty="0"/>
              <a:t/>
            </a:r>
            <a:br>
              <a:rPr lang="it-IT" sz="4000" b="1" dirty="0"/>
            </a:br>
            <a:r>
              <a:rPr lang="it-IT" sz="3200" b="1" dirty="0"/>
              <a:t>c</a:t>
            </a:r>
            <a:r>
              <a:rPr lang="it-IT" sz="3200" b="1" dirty="0" smtClean="0"/>
              <a:t>arrots, </a:t>
            </a:r>
            <a:r>
              <a:rPr lang="it-IT" sz="3200" b="1" dirty="0"/>
              <a:t>Gruyere </a:t>
            </a:r>
            <a:r>
              <a:rPr lang="it-IT" sz="3200" b="1" dirty="0" smtClean="0"/>
              <a:t>biscuits</a:t>
            </a:r>
            <a:endParaRPr lang="en-US" sz="3200" b="1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097489" y="1028565"/>
            <a:ext cx="3074044" cy="5609321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b="1" dirty="0" smtClean="0"/>
              <a:t>By Curtis </a:t>
            </a:r>
            <a:r>
              <a:rPr lang="en-US" b="1" dirty="0"/>
              <a:t>Stone</a:t>
            </a:r>
          </a:p>
          <a:p>
            <a:pPr algn="l"/>
            <a:endParaRPr lang="en-US" sz="267" dirty="0"/>
          </a:p>
          <a:p>
            <a:pPr algn="l"/>
            <a:r>
              <a:rPr lang="en-US" b="1" u="sng" dirty="0"/>
              <a:t>Flavor 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Tender beef chunks in a stew of carrots, onions and mushrooms seasoned with garlic, dijon mustard, red wine &amp; fresh thyme.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Flakey-cheesy biscuit topping.</a:t>
            </a:r>
          </a:p>
          <a:p>
            <a:pPr algn="l"/>
            <a:endParaRPr lang="en-US" sz="667" b="1" dirty="0"/>
          </a:p>
          <a:p>
            <a:pPr algn="l"/>
            <a:r>
              <a:rPr lang="en-US" b="1" u="sng" dirty="0" smtClean="0"/>
              <a:t>Menu Explanation</a:t>
            </a:r>
            <a:endParaRPr lang="en-US" b="1" u="sng" dirty="0"/>
          </a:p>
          <a:p>
            <a:pPr marL="162980" lvl="1" indent="-162980"/>
            <a:r>
              <a:rPr lang="en-US" sz="1333" dirty="0">
                <a:solidFill>
                  <a:srgbClr val="000000"/>
                </a:solidFill>
              </a:rPr>
              <a:t>A Curtis Stone crafted comfort entrée full of rich flavors, tender beef, carrots and mushrooms with a cheesy biscuit topping.</a:t>
            </a:r>
            <a:endParaRPr lang="en-US" sz="1333" b="1" u="sng" dirty="0">
              <a:solidFill>
                <a:srgbClr val="000000"/>
              </a:solidFill>
            </a:endParaRPr>
          </a:p>
          <a:p>
            <a:pPr algn="l">
              <a:spcBef>
                <a:spcPts val="0"/>
              </a:spcBef>
            </a:pPr>
            <a:endParaRPr lang="en-US" sz="667" b="1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/>
              <a:t>Terminology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667" b="1" u="sng" dirty="0"/>
          </a:p>
          <a:p>
            <a:pPr marL="230712" indent="-224361" algn="l">
              <a:spcBef>
                <a:spcPts val="0"/>
              </a:spcBef>
            </a:pPr>
            <a:r>
              <a:rPr lang="en-US" u="sng" dirty="0" smtClean="0"/>
              <a:t>Cobbler</a:t>
            </a:r>
            <a:r>
              <a:rPr lang="en-US" dirty="0" smtClean="0"/>
              <a:t> – </a:t>
            </a:r>
            <a:r>
              <a:rPr lang="en-US" dirty="0"/>
              <a:t>a fruit or </a:t>
            </a:r>
            <a:r>
              <a:rPr lang="en-US" dirty="0" smtClean="0"/>
              <a:t>savory </a:t>
            </a:r>
            <a:r>
              <a:rPr lang="en-US" dirty="0"/>
              <a:t>filling poured into a </a:t>
            </a:r>
            <a:r>
              <a:rPr lang="en-US" dirty="0" smtClean="0"/>
              <a:t>baking </a:t>
            </a:r>
            <a:r>
              <a:rPr lang="en-US" dirty="0"/>
              <a:t>dish and covered with a batter, biscuit, or dumpling </a:t>
            </a:r>
            <a:r>
              <a:rPr lang="en-US" dirty="0" smtClean="0"/>
              <a:t>&amp; baked</a:t>
            </a:r>
          </a:p>
          <a:p>
            <a:pPr marL="230712" indent="-224361" algn="l">
              <a:spcBef>
                <a:spcPts val="0"/>
              </a:spcBef>
            </a:pPr>
            <a:r>
              <a:rPr lang="en-US" u="sng" dirty="0" smtClean="0"/>
              <a:t>Gruyere</a:t>
            </a:r>
            <a:r>
              <a:rPr lang="en-US" dirty="0" smtClean="0"/>
              <a:t> - </a:t>
            </a:r>
            <a:r>
              <a:rPr lang="en-US" dirty="0"/>
              <a:t>a firm, tangy </a:t>
            </a:r>
            <a:r>
              <a:rPr lang="en-US" dirty="0" smtClean="0"/>
              <a:t>cheese</a:t>
            </a:r>
          </a:p>
          <a:p>
            <a:pPr marL="230712" indent="-224361" algn="l">
              <a:spcBef>
                <a:spcPts val="0"/>
              </a:spcBef>
            </a:pPr>
            <a:endParaRPr lang="en-US" sz="667" dirty="0"/>
          </a:p>
          <a:p>
            <a:pPr marL="6351" algn="l">
              <a:spcBef>
                <a:spcPts val="0"/>
              </a:spcBef>
            </a:pPr>
            <a:r>
              <a:rPr lang="en-US" b="1" u="sng" dirty="0" smtClean="0"/>
              <a:t>Allergens</a:t>
            </a:r>
            <a:endParaRPr lang="en-US" dirty="0"/>
          </a:p>
          <a:p>
            <a:pPr marL="230712" indent="-224361" algn="l">
              <a:spcBef>
                <a:spcPts val="0"/>
              </a:spcBef>
            </a:pPr>
            <a:endParaRPr lang="en-US" u="sng" dirty="0"/>
          </a:p>
        </p:txBody>
      </p:sp>
      <p:sp>
        <p:nvSpPr>
          <p:cNvPr id="5" name="TextBox 4"/>
          <p:cNvSpPr txBox="1"/>
          <p:nvPr/>
        </p:nvSpPr>
        <p:spPr>
          <a:xfrm>
            <a:off x="0" y="6448058"/>
            <a:ext cx="1487138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</a:rPr>
              <a:t>Chef’s Dinner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73537" y="5257517"/>
            <a:ext cx="631395" cy="66635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5618" y="5256409"/>
            <a:ext cx="623712" cy="66746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49139" y="5256962"/>
            <a:ext cx="618549" cy="66635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66" r="18471" b="3171"/>
          <a:stretch/>
        </p:blipFill>
        <p:spPr>
          <a:xfrm>
            <a:off x="3094510" y="1028565"/>
            <a:ext cx="6002979" cy="5282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920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"/>
            <a:ext cx="12191999" cy="1089964"/>
          </a:xfrm>
        </p:spPr>
        <p:txBody>
          <a:bodyPr>
            <a:noAutofit/>
          </a:bodyPr>
          <a:lstStyle/>
          <a:p>
            <a:pPr algn="ctr"/>
            <a:r>
              <a:rPr lang="en-US" b="1" dirty="0" smtClean="0"/>
              <a:t>Lemon-Rosemary </a:t>
            </a:r>
            <a:r>
              <a:rPr lang="en-US" b="1" dirty="0"/>
              <a:t>Cornish Game Hen</a:t>
            </a:r>
            <a:br>
              <a:rPr lang="en-US" b="1" dirty="0"/>
            </a:br>
            <a:r>
              <a:rPr lang="en-US" sz="3200" b="1" dirty="0" smtClean="0"/>
              <a:t>Olive-Feta </a:t>
            </a:r>
            <a:r>
              <a:rPr lang="en-US" sz="3200" b="1" dirty="0"/>
              <a:t>Relish Crispy Roasted Potato </a:t>
            </a:r>
            <a:r>
              <a:rPr lang="en-US" sz="3200" b="1" dirty="0" smtClean="0"/>
              <a:t>and </a:t>
            </a:r>
            <a:r>
              <a:rPr lang="en-US" sz="3200" b="1" dirty="0"/>
              <a:t>Peppers</a:t>
            </a:r>
            <a:endParaRPr lang="en-US" sz="3600" b="1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731123" y="1089965"/>
            <a:ext cx="2460875" cy="550995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sz="1600" b="1" u="sng" dirty="0"/>
              <a:t>Flavor 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Citrusy Mediterranean spiced game hens seasoned with lemon and rosemary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Black olive-feta relish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Roasted peppers and potatoe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Creamy Romesco pepper sauce</a:t>
            </a:r>
          </a:p>
          <a:p>
            <a:pPr algn="l"/>
            <a:endParaRPr lang="en-US" sz="667" b="1" dirty="0"/>
          </a:p>
          <a:p>
            <a:pPr algn="l"/>
            <a:r>
              <a:rPr lang="en-US" sz="1600" b="1" u="sng" dirty="0"/>
              <a:t>Menu Explanation</a:t>
            </a:r>
          </a:p>
          <a:p>
            <a:pPr marL="162980" lvl="1" indent="-162980"/>
            <a:r>
              <a:rPr lang="en-US" sz="1333" dirty="0">
                <a:solidFill>
                  <a:srgbClr val="000000"/>
                </a:solidFill>
              </a:rPr>
              <a:t>Cornish game with salty olive-feta relish and creamy pepper sauce.</a:t>
            </a:r>
            <a:endParaRPr lang="en-US" b="1" dirty="0" smtClean="0"/>
          </a:p>
          <a:p>
            <a:pPr algn="l">
              <a:spcBef>
                <a:spcPts val="0"/>
              </a:spcBef>
            </a:pPr>
            <a:endParaRPr lang="en-US" sz="667" b="1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sz="1600" b="1" u="sng" dirty="0"/>
              <a:t>Allergen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0874" y="1089965"/>
            <a:ext cx="7270250" cy="555438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0" y="6410094"/>
            <a:ext cx="1487138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</a:rPr>
              <a:t>Chef’s Dinner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6372" y="4072565"/>
            <a:ext cx="631395" cy="666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71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5398"/>
          </a:xfrm>
        </p:spPr>
        <p:txBody>
          <a:bodyPr>
            <a:noAutofit/>
          </a:bodyPr>
          <a:lstStyle/>
          <a:p>
            <a:pPr algn="ctr"/>
            <a:r>
              <a:rPr lang="en-US" sz="4800" b="1" dirty="0" smtClean="0"/>
              <a:t>Backyard Burger </a:t>
            </a:r>
            <a:r>
              <a:rPr lang="en-US" sz="2400" b="1" dirty="0"/>
              <a:t>by Ernesto Uchimura</a:t>
            </a:r>
            <a:r>
              <a:rPr lang="en-US" sz="4800" b="1" dirty="0"/>
              <a:t/>
            </a:r>
            <a:br>
              <a:rPr lang="en-US" sz="4800" b="1" dirty="0"/>
            </a:br>
            <a:r>
              <a:rPr lang="en-US" sz="3200" b="1" dirty="0"/>
              <a:t>BBQ glaze, smoked bacon, </a:t>
            </a:r>
            <a:r>
              <a:rPr lang="en-US" sz="3200" b="1" dirty="0" err="1"/>
              <a:t>cotija</a:t>
            </a:r>
            <a:r>
              <a:rPr lang="en-US" sz="3200" b="1" dirty="0"/>
              <a:t> cheese, onion rings, French fries </a:t>
            </a:r>
            <a:endParaRPr lang="en-US" sz="2400" b="1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366421" y="1102144"/>
            <a:ext cx="2825579" cy="5288509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b="1" u="sng" dirty="0"/>
              <a:t>Flavor 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</a:rPr>
              <a:t>Ernesto’s burgers feature a combination of rib eye steak &amp; beef short rib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</a:rPr>
              <a:t>Freshly baked brioche bun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</a:rPr>
              <a:t>Smoky BBQ glaze and smoked bacon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</a:rPr>
              <a:t>Cotija Mexican chees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</a:rPr>
              <a:t>Topped with crisp onion ring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</a:rPr>
              <a:t>Served with French fries</a:t>
            </a:r>
          </a:p>
          <a:p>
            <a:pPr algn="l"/>
            <a:endParaRPr lang="en-US" sz="133" b="1" dirty="0"/>
          </a:p>
          <a:p>
            <a:pPr algn="l"/>
            <a:r>
              <a:rPr lang="en-US" b="1" u="sng" dirty="0" smtClean="0"/>
              <a:t>Menu Explanation</a:t>
            </a:r>
            <a:endParaRPr lang="en-US" b="1" u="sng" dirty="0"/>
          </a:p>
          <a:p>
            <a:pPr marL="162980" lvl="1" indent="-162980"/>
            <a:r>
              <a:rPr lang="en-US" sz="1200" dirty="0">
                <a:solidFill>
                  <a:srgbClr val="000000"/>
                </a:solidFill>
              </a:rPr>
              <a:t>Part of a unique collection of burgers made exclusively for Princess, this backyard burger combines the juiciest patties, sweet BBQ sauce, crisp bacon, creamy coleslaw and is topped with crisp onion rings.</a:t>
            </a:r>
          </a:p>
          <a:p>
            <a:pPr marL="162980" lvl="1" indent="-162980"/>
            <a:endParaRPr lang="en-US" sz="267" b="1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/>
              <a:t>Terminology</a:t>
            </a:r>
            <a:endParaRPr lang="en-US" b="1" dirty="0" smtClean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667" b="1" u="sng" dirty="0"/>
          </a:p>
          <a:p>
            <a:pPr marL="256111" indent="-256111" algn="l">
              <a:spcBef>
                <a:spcPts val="0"/>
              </a:spcBef>
            </a:pPr>
            <a:r>
              <a:rPr lang="en-US" sz="1200" u="sng" dirty="0"/>
              <a:t>Cotija Cheese</a:t>
            </a:r>
            <a:r>
              <a:rPr lang="en-US" sz="1200" dirty="0"/>
              <a:t> - a hard cow's milk </a:t>
            </a:r>
            <a:r>
              <a:rPr lang="en-US" sz="1200" i="1" dirty="0"/>
              <a:t>cheese</a:t>
            </a:r>
            <a:r>
              <a:rPr lang="en-US" sz="1200" dirty="0"/>
              <a:t> that originated in Mexico. It is named after the town of </a:t>
            </a:r>
            <a:r>
              <a:rPr lang="en-US" sz="1200" i="1" dirty="0" err="1" smtClean="0"/>
              <a:t>Cotija</a:t>
            </a:r>
            <a:r>
              <a:rPr lang="en-US" sz="1200" i="1" dirty="0" smtClean="0"/>
              <a:t>.</a:t>
            </a:r>
            <a:endParaRPr lang="en-US" sz="1200" i="1" dirty="0"/>
          </a:p>
          <a:p>
            <a:pPr marL="256111" indent="-256111" algn="l">
              <a:spcBef>
                <a:spcPts val="0"/>
              </a:spcBef>
            </a:pPr>
            <a:endParaRPr lang="en-US" sz="400" i="1" u="sng" dirty="0"/>
          </a:p>
          <a:p>
            <a:pPr algn="l">
              <a:spcBef>
                <a:spcPts val="0"/>
              </a:spcBef>
            </a:pPr>
            <a:r>
              <a:rPr lang="en-US" sz="1200" b="1" u="sng" dirty="0"/>
              <a:t>Allergens</a:t>
            </a:r>
            <a:endParaRPr lang="en-US" sz="1200" u="sng" dirty="0"/>
          </a:p>
        </p:txBody>
      </p:sp>
      <p:sp>
        <p:nvSpPr>
          <p:cNvPr id="2" name="AutoShape 2" descr="https://files.slack.com/files-pri/T6DEFCL00-F9A4T44P2/image_uploaded_from_ios.jpg"/>
          <p:cNvSpPr>
            <a:spLocks noChangeAspect="1" noChangeArrowheads="1"/>
          </p:cNvSpPr>
          <p:nvPr/>
        </p:nvSpPr>
        <p:spPr bwMode="auto">
          <a:xfrm>
            <a:off x="1731433" y="-192617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210" y="5046835"/>
            <a:ext cx="644800" cy="6805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95313" y="5046835"/>
            <a:ext cx="623712" cy="66746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41068" y="5818333"/>
            <a:ext cx="620564" cy="67397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73895" y="5060983"/>
            <a:ext cx="631395" cy="66635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43083" y="5047942"/>
            <a:ext cx="618549" cy="66635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79950" y="6337684"/>
            <a:ext cx="2832100" cy="5334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82379" y="6415255"/>
            <a:ext cx="7595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0070AF"/>
                </a:solidFill>
              </a:rPr>
              <a:t>Chef’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1433" y="1102143"/>
            <a:ext cx="7262947" cy="5100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150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440911"/>
            <a:ext cx="12192000" cy="2208452"/>
          </a:xfrm>
        </p:spPr>
        <p:txBody>
          <a:bodyPr>
            <a:normAutofit/>
          </a:bodyPr>
          <a:lstStyle/>
          <a:p>
            <a:pPr algn="ctr"/>
            <a:r>
              <a:rPr lang="en-US" sz="6000" u="sng" dirty="0" smtClean="0">
                <a:latin typeface="Calibri" panose="020F0502020204030204" pitchFamily="34" charset="0"/>
              </a:rPr>
              <a:t>Captain’s Gala</a:t>
            </a:r>
            <a:endParaRPr lang="en-US" sz="6000" u="sng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2562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677"/>
            <a:ext cx="12192000" cy="1011888"/>
          </a:xfrm>
        </p:spPr>
        <p:txBody>
          <a:bodyPr>
            <a:noAutofit/>
          </a:bodyPr>
          <a:lstStyle/>
          <a:p>
            <a:pPr algn="ctr"/>
            <a:r>
              <a:rPr lang="en-US" b="1" dirty="0"/>
              <a:t>Lime </a:t>
            </a:r>
            <a:r>
              <a:rPr lang="en-US" b="1" dirty="0" smtClean="0"/>
              <a:t>and </a:t>
            </a:r>
            <a:r>
              <a:rPr lang="en-US" b="1" dirty="0"/>
              <a:t>Salt-Cured Salmon, Citrus Chili Sauce</a:t>
            </a:r>
            <a:br>
              <a:rPr lang="en-US" b="1" dirty="0"/>
            </a:br>
            <a:r>
              <a:rPr lang="en-US" sz="3200" b="1" dirty="0"/>
              <a:t> crab</a:t>
            </a:r>
            <a:r>
              <a:rPr lang="en-US" sz="3200" b="1" dirty="0" smtClean="0"/>
              <a:t>, shrimp</a:t>
            </a:r>
            <a:r>
              <a:rPr lang="en-US" sz="3200" b="1" dirty="0"/>
              <a:t>, dill-cucumber salad, crunchy peas</a:t>
            </a:r>
            <a:endParaRPr lang="en-US" sz="3200" b="1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731027" y="1028565"/>
            <a:ext cx="2436345" cy="557135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b="1" u="sng" dirty="0" smtClean="0"/>
              <a:t>Flavor </a:t>
            </a:r>
            <a:r>
              <a:rPr lang="en-US" b="1" u="sng" dirty="0"/>
              <a:t>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Lime and salt cured salmon, crab and shrimp.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Lemon juice marinade seasoned with turmeric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Sweet Thai chili sauc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Spicy-crunchy wasabi pea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Crispy crostini</a:t>
            </a:r>
          </a:p>
          <a:p>
            <a:pPr algn="l"/>
            <a:endParaRPr lang="en-US" sz="667" b="1" dirty="0"/>
          </a:p>
          <a:p>
            <a:pPr algn="l"/>
            <a:r>
              <a:rPr lang="en-US" b="1" u="sng" dirty="0" smtClean="0"/>
              <a:t>Menu Explanation</a:t>
            </a:r>
            <a:endParaRPr lang="en-US" b="1" u="sng" dirty="0"/>
          </a:p>
          <a:p>
            <a:pPr marL="162980" lvl="1" indent="-162980"/>
            <a:r>
              <a:rPr lang="en-US" sz="1333" dirty="0">
                <a:solidFill>
                  <a:srgbClr val="000000"/>
                </a:solidFill>
              </a:rPr>
              <a:t>A mix of flavorful seafood with spicy wasabi peas and sweet chili sauce</a:t>
            </a:r>
            <a:endParaRPr lang="en-US" b="1" dirty="0" smtClean="0"/>
          </a:p>
          <a:p>
            <a:pPr algn="l">
              <a:spcBef>
                <a:spcPts val="0"/>
              </a:spcBef>
            </a:pPr>
            <a:endParaRPr lang="en-US" sz="667" b="1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/>
              <a:t>Allergens</a:t>
            </a:r>
            <a:endParaRPr lang="en-US" b="1" u="sng" dirty="0"/>
          </a:p>
        </p:txBody>
      </p:sp>
      <p:sp>
        <p:nvSpPr>
          <p:cNvPr id="5" name="TextBox 4"/>
          <p:cNvSpPr txBox="1"/>
          <p:nvPr/>
        </p:nvSpPr>
        <p:spPr>
          <a:xfrm>
            <a:off x="0" y="6478344"/>
            <a:ext cx="1552669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</a:rPr>
              <a:t>Captain’s Gala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81819" y="4605560"/>
            <a:ext cx="644800" cy="6805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05704" y="4618601"/>
            <a:ext cx="623712" cy="66746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94698" y="3877080"/>
            <a:ext cx="620564" cy="67397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18583" y="3877080"/>
            <a:ext cx="620820" cy="67397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70536" y="3877080"/>
            <a:ext cx="618549" cy="67397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7" t="10699" r="11944" b="978"/>
          <a:stretch/>
        </p:blipFill>
        <p:spPr>
          <a:xfrm>
            <a:off x="2460972" y="1028565"/>
            <a:ext cx="7270055" cy="547838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64112" y="4612633"/>
            <a:ext cx="631395" cy="666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462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868351"/>
            <a:ext cx="12192000" cy="3280437"/>
          </a:xfrm>
        </p:spPr>
        <p:txBody>
          <a:bodyPr>
            <a:normAutofit/>
          </a:bodyPr>
          <a:lstStyle/>
          <a:p>
            <a:pPr algn="ctr"/>
            <a:r>
              <a:rPr lang="en-US" sz="6000" u="sng" dirty="0">
                <a:latin typeface="Calibri" panose="020F0502020204030204" pitchFamily="34" charset="0"/>
              </a:rPr>
              <a:t>Princess Favorites:</a:t>
            </a:r>
            <a:r>
              <a:rPr lang="en-US" sz="5400" u="sng" dirty="0">
                <a:latin typeface="Calibri" panose="020F0502020204030204" pitchFamily="34" charset="0"/>
              </a:rPr>
              <a:t/>
            </a:r>
            <a:br>
              <a:rPr lang="en-US" sz="5400" u="sng" dirty="0">
                <a:latin typeface="Calibri" panose="020F0502020204030204" pitchFamily="34" charset="0"/>
              </a:rPr>
            </a:br>
            <a:r>
              <a:rPr lang="en-US" u="sng" dirty="0" smtClean="0">
                <a:latin typeface="Calibri" panose="020F0502020204030204" pitchFamily="34" charset="0"/>
              </a:rPr>
              <a:t/>
            </a:r>
            <a:br>
              <a:rPr lang="en-US" u="sng" dirty="0" smtClean="0">
                <a:latin typeface="Calibri" panose="020F0502020204030204" pitchFamily="34" charset="0"/>
              </a:rPr>
            </a:br>
            <a:endParaRPr lang="en-US" sz="4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2168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677"/>
            <a:ext cx="12192000" cy="1011888"/>
          </a:xfrm>
        </p:spPr>
        <p:txBody>
          <a:bodyPr>
            <a:noAutofit/>
          </a:bodyPr>
          <a:lstStyle/>
          <a:p>
            <a:pPr algn="ctr"/>
            <a:r>
              <a:rPr lang="it-IT" b="1" dirty="0"/>
              <a:t>Lemon Scented </a:t>
            </a:r>
            <a:r>
              <a:rPr lang="it-IT" b="1" dirty="0" smtClean="0"/>
              <a:t>Ravioli, </a:t>
            </a:r>
            <a:r>
              <a:rPr lang="it-IT" b="1" dirty="0"/>
              <a:t>Truffle Oil</a:t>
            </a:r>
            <a:r>
              <a:rPr lang="it-IT" sz="4000" b="1" dirty="0"/>
              <a:t/>
            </a:r>
            <a:br>
              <a:rPr lang="it-IT" sz="4000" b="1" dirty="0"/>
            </a:br>
            <a:r>
              <a:rPr lang="fr-FR" sz="3200" b="1" dirty="0"/>
              <a:t>mascarpone, sage-</a:t>
            </a:r>
            <a:r>
              <a:rPr lang="fr-FR" sz="3200" b="1" dirty="0" err="1"/>
              <a:t>vegetable</a:t>
            </a:r>
            <a:r>
              <a:rPr lang="fr-FR" sz="3200" b="1" dirty="0"/>
              <a:t> ragout, </a:t>
            </a:r>
            <a:r>
              <a:rPr lang="fr-FR" sz="3200" b="1" dirty="0" err="1"/>
              <a:t>carrot</a:t>
            </a:r>
            <a:r>
              <a:rPr lang="fr-FR" sz="3200" b="1" dirty="0"/>
              <a:t> </a:t>
            </a:r>
            <a:r>
              <a:rPr lang="fr-FR" sz="3200" b="1" dirty="0" err="1"/>
              <a:t>emulsion</a:t>
            </a:r>
            <a:endParaRPr lang="en-US" sz="3200" b="1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560901" y="1028565"/>
            <a:ext cx="2631099" cy="5571356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en-US" b="1" u="sng" dirty="0" smtClean="0"/>
              <a:t>Flavor </a:t>
            </a:r>
            <a:r>
              <a:rPr lang="en-US" b="1" u="sng" dirty="0"/>
              <a:t>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Delicate raviolis filled with lemon and mascarpone chees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Sautéed squash, carrots, asparagus, mushrooms &amp; sage.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Creamy carrot emulsion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Truffle oil</a:t>
            </a:r>
            <a:endParaRPr lang="en-US" sz="1333" dirty="0"/>
          </a:p>
          <a:p>
            <a:pPr algn="l">
              <a:spcBef>
                <a:spcPts val="0"/>
              </a:spcBef>
            </a:pPr>
            <a:endParaRPr lang="en-US" sz="667" b="1" dirty="0"/>
          </a:p>
          <a:p>
            <a:pPr algn="l">
              <a:spcBef>
                <a:spcPts val="0"/>
              </a:spcBef>
            </a:pPr>
            <a:r>
              <a:rPr lang="en-US" b="1" u="sng" dirty="0" smtClean="0"/>
              <a:t>Menu Explanation</a:t>
            </a:r>
            <a:endParaRPr lang="en-US" b="1" u="sng" dirty="0"/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Small pasta envelopes are filled with a buttery lemon and mascarpone cheese.</a:t>
            </a:r>
            <a:endParaRPr lang="en-US" sz="1333" b="1" u="sng" dirty="0">
              <a:solidFill>
                <a:srgbClr val="000000"/>
              </a:solidFill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667" b="1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/>
              <a:t>Terminology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800" b="1" u="sng" dirty="0"/>
          </a:p>
          <a:p>
            <a:pPr marL="230712" indent="-224361" algn="l">
              <a:spcBef>
                <a:spcPts val="0"/>
              </a:spcBef>
            </a:pPr>
            <a:r>
              <a:rPr lang="en-US" u="sng" dirty="0" smtClean="0"/>
              <a:t>Ragout</a:t>
            </a:r>
            <a:r>
              <a:rPr lang="en-US" dirty="0" smtClean="0"/>
              <a:t> - </a:t>
            </a:r>
            <a:r>
              <a:rPr lang="en-US" dirty="0"/>
              <a:t>a highly seasoned dish of meat </a:t>
            </a:r>
            <a:r>
              <a:rPr lang="en-US" dirty="0" smtClean="0"/>
              <a:t>or vegetables cut </a:t>
            </a:r>
            <a:r>
              <a:rPr lang="en-US" dirty="0"/>
              <a:t>into small pieces and </a:t>
            </a:r>
            <a:r>
              <a:rPr lang="en-US" dirty="0" smtClean="0"/>
              <a:t>stewed</a:t>
            </a:r>
          </a:p>
          <a:p>
            <a:pPr marL="230712" indent="-224361" algn="l">
              <a:spcBef>
                <a:spcPts val="0"/>
              </a:spcBef>
            </a:pPr>
            <a:r>
              <a:rPr lang="en-US" u="sng" dirty="0" smtClean="0"/>
              <a:t>Emulsion</a:t>
            </a:r>
            <a:r>
              <a:rPr lang="en-US" dirty="0" smtClean="0"/>
              <a:t> - </a:t>
            </a:r>
            <a:r>
              <a:rPr lang="en-US" dirty="0"/>
              <a:t>oil and water are shaken together, tiny droplets of one liquid spread through the other </a:t>
            </a:r>
            <a:r>
              <a:rPr lang="en-US" dirty="0" smtClean="0"/>
              <a:t>liquid forming </a:t>
            </a:r>
            <a:r>
              <a:rPr lang="en-US" dirty="0"/>
              <a:t>a mixture </a:t>
            </a:r>
            <a:endParaRPr lang="en-US" dirty="0" smtClean="0"/>
          </a:p>
          <a:p>
            <a:pPr marL="6351" algn="l">
              <a:spcBef>
                <a:spcPts val="0"/>
              </a:spcBef>
            </a:pPr>
            <a:endParaRPr lang="en-US" sz="533" u="sng" dirty="0"/>
          </a:p>
          <a:p>
            <a:pPr marL="6351" algn="l">
              <a:spcBef>
                <a:spcPts val="0"/>
              </a:spcBef>
            </a:pPr>
            <a:r>
              <a:rPr lang="en-US" b="1" u="sng" dirty="0"/>
              <a:t>Terminology</a:t>
            </a:r>
            <a:endParaRPr lang="en-US" u="sng" dirty="0"/>
          </a:p>
        </p:txBody>
      </p:sp>
      <p:sp>
        <p:nvSpPr>
          <p:cNvPr id="5" name="TextBox 4"/>
          <p:cNvSpPr txBox="1"/>
          <p:nvPr/>
        </p:nvSpPr>
        <p:spPr>
          <a:xfrm>
            <a:off x="0" y="6478344"/>
            <a:ext cx="1552669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</a:rPr>
              <a:t>Captain’s Gala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11238" y="5377758"/>
            <a:ext cx="631395" cy="66635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24007" y="5377758"/>
            <a:ext cx="619742" cy="68050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37299" y="5377759"/>
            <a:ext cx="623712" cy="66746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/>
          <a:srcRect l="17320" t="21218" r="20463" b="16526"/>
          <a:stretch/>
        </p:blipFill>
        <p:spPr>
          <a:xfrm>
            <a:off x="2631098" y="1028565"/>
            <a:ext cx="6929803" cy="5270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487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677"/>
            <a:ext cx="12192000" cy="101188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5300" b="1" dirty="0" smtClean="0"/>
              <a:t>Blue Burger </a:t>
            </a:r>
            <a:r>
              <a:rPr lang="en-US" sz="3600" b="1" dirty="0"/>
              <a:t>by Ernesto Uchimura</a:t>
            </a:r>
            <a:r>
              <a:rPr lang="en-US" sz="5300" b="1" dirty="0" smtClean="0"/>
              <a:t> 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700" b="1" dirty="0"/>
              <a:t>blue cheese, port wine onions, arugula, aioli, French fries</a:t>
            </a:r>
            <a:endParaRPr lang="en-US" sz="2000" b="1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500222" y="1028565"/>
            <a:ext cx="2691778" cy="5571357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/>
            <a:r>
              <a:rPr lang="en-US" b="1" u="sng" dirty="0"/>
              <a:t>Flavor 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Ernesto’s burgers feature a unique combination of rib eye steak and beef short rib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Freshly baked brioche bun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Blue chees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Fresh arugula and mayonnaise</a:t>
            </a:r>
          </a:p>
          <a:p>
            <a:pPr marL="162980" lvl="1" indent="-162980">
              <a:spcBef>
                <a:spcPts val="0"/>
              </a:spcBef>
            </a:pPr>
            <a:endParaRPr lang="en-US" sz="1333" dirty="0">
              <a:solidFill>
                <a:srgbClr val="000000"/>
              </a:solidFill>
            </a:endParaRPr>
          </a:p>
          <a:p>
            <a:pPr algn="l"/>
            <a:r>
              <a:rPr lang="en-US" b="1" u="sng" dirty="0"/>
              <a:t>Menu Explanation</a:t>
            </a:r>
          </a:p>
          <a:p>
            <a:pPr marL="162980" lvl="1" indent="-162980"/>
            <a:r>
              <a:rPr lang="en-US" sz="1333" dirty="0">
                <a:solidFill>
                  <a:srgbClr val="000000"/>
                </a:solidFill>
              </a:rPr>
              <a:t>Part of a unique collection of burgers made exclusively for Princess.  Our blue cheese burger combines the juiciest of beef patties with blue cheese, peppery fresh arugula and wine infused onions. </a:t>
            </a:r>
          </a:p>
          <a:p>
            <a:pPr marL="162980" lvl="1" indent="-162980"/>
            <a:endParaRPr lang="en-US" sz="533" b="1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/>
              <a:t>Terminology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933" b="1" u="sng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u="sng" dirty="0" smtClean="0"/>
              <a:t>Aioli</a:t>
            </a:r>
            <a:r>
              <a:rPr lang="en-US" dirty="0" smtClean="0"/>
              <a:t> - </a:t>
            </a:r>
            <a:r>
              <a:rPr lang="en-US" dirty="0"/>
              <a:t>a Mediterranean sauce made of garlic and olive </a:t>
            </a:r>
            <a:r>
              <a:rPr lang="en-US" dirty="0" smtClean="0"/>
              <a:t>oil</a:t>
            </a:r>
            <a:endParaRPr lang="en-US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800" u="sng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/>
              <a:t>Allergens</a:t>
            </a:r>
            <a:endParaRPr lang="en-US" u="sng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9950" y="6333222"/>
            <a:ext cx="2832100" cy="5334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76027" y="5429549"/>
            <a:ext cx="623712" cy="66746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25264" y="5429549"/>
            <a:ext cx="644800" cy="68050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40660" y="5436624"/>
            <a:ext cx="631395" cy="66635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89287" y="5436624"/>
            <a:ext cx="618549" cy="666357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82379" y="6415255"/>
            <a:ext cx="15052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0070AF"/>
                </a:solidFill>
              </a:rPr>
              <a:t>Captain’s Gala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781" y="1278111"/>
            <a:ext cx="7607947" cy="4805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54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868351"/>
            <a:ext cx="12192000" cy="3003433"/>
          </a:xfrm>
        </p:spPr>
        <p:txBody>
          <a:bodyPr>
            <a:normAutofit/>
          </a:bodyPr>
          <a:lstStyle/>
          <a:p>
            <a:pPr algn="ctr"/>
            <a:r>
              <a:rPr lang="en-US" sz="6000" u="sng" dirty="0">
                <a:latin typeface="Calibri" panose="020F0502020204030204" pitchFamily="34" charset="0"/>
              </a:rPr>
              <a:t>Dinner 2</a:t>
            </a:r>
            <a:endParaRPr lang="en-US" sz="6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567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28565"/>
          </a:xfrm>
        </p:spPr>
        <p:txBody>
          <a:bodyPr>
            <a:normAutofit fontScale="90000"/>
          </a:bodyPr>
          <a:lstStyle/>
          <a:p>
            <a:pPr algn="ctr"/>
            <a:r>
              <a:rPr lang="en-US" b="1" dirty="0"/>
              <a:t>Mariner-Style Black Mussels, </a:t>
            </a:r>
            <a:r>
              <a:rPr lang="en-US" b="1" dirty="0" smtClean="0"/>
              <a:t>in White Wine Cream Sauce</a:t>
            </a:r>
            <a:r>
              <a:rPr lang="en-US" sz="3600" b="1" dirty="0" smtClean="0"/>
              <a:t/>
            </a:r>
            <a:br>
              <a:rPr lang="en-US" sz="3600" b="1" dirty="0" smtClean="0"/>
            </a:br>
            <a:r>
              <a:rPr lang="en-US" sz="3600" b="1" dirty="0" smtClean="0"/>
              <a:t>home-style </a:t>
            </a:r>
            <a:r>
              <a:rPr lang="en-US" sz="3600" b="1" dirty="0"/>
              <a:t>garlic bread, French fries</a:t>
            </a:r>
            <a:endParaRPr lang="en-US" sz="3600" b="1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385744" y="1028565"/>
            <a:ext cx="2781627" cy="557135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b="1" u="sng" dirty="0" smtClean="0"/>
              <a:t>Flavor </a:t>
            </a:r>
            <a:r>
              <a:rPr lang="en-US" b="1" u="sng" dirty="0"/>
              <a:t>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Chilean black mussels cooked in garlic, shallots and white wine with a delicate hint of fresh herbs and licorice </a:t>
            </a:r>
            <a:r>
              <a:rPr lang="en-US" sz="1333" dirty="0" smtClean="0">
                <a:solidFill>
                  <a:srgbClr val="000000"/>
                </a:solidFill>
              </a:rPr>
              <a:t>(Pernod</a:t>
            </a:r>
            <a:r>
              <a:rPr lang="en-US" sz="1333" dirty="0">
                <a:solidFill>
                  <a:srgbClr val="000000"/>
                </a:solidFill>
              </a:rPr>
              <a:t>).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Served with French fries and a rich wine cream sauce.</a:t>
            </a:r>
          </a:p>
          <a:p>
            <a:pPr algn="l"/>
            <a:endParaRPr lang="en-US" b="1" dirty="0" smtClean="0"/>
          </a:p>
          <a:p>
            <a:pPr algn="l"/>
            <a:r>
              <a:rPr lang="en-US" b="1" u="sng" dirty="0" smtClean="0"/>
              <a:t>Menu Explanation</a:t>
            </a:r>
            <a:endParaRPr lang="en-US" b="1" u="sng" dirty="0"/>
          </a:p>
          <a:p>
            <a:pPr marL="162980" lvl="1" indent="-162980"/>
            <a:r>
              <a:rPr lang="en-US" sz="1333" dirty="0">
                <a:solidFill>
                  <a:srgbClr val="000000"/>
                </a:solidFill>
              </a:rPr>
              <a:t>Considered the national dish of Belgium, its French name is </a:t>
            </a:r>
            <a:r>
              <a:rPr lang="en-US" sz="1333" dirty="0" smtClean="0">
                <a:solidFill>
                  <a:srgbClr val="000000"/>
                </a:solidFill>
              </a:rPr>
              <a:t>Moules </a:t>
            </a:r>
            <a:r>
              <a:rPr lang="en-US" sz="1333" dirty="0">
                <a:solidFill>
                  <a:srgbClr val="000000"/>
                </a:solidFill>
              </a:rPr>
              <a:t>et </a:t>
            </a:r>
            <a:r>
              <a:rPr lang="en-US" sz="1333" dirty="0" smtClean="0">
                <a:solidFill>
                  <a:srgbClr val="000000"/>
                </a:solidFill>
              </a:rPr>
              <a:t>Frites</a:t>
            </a:r>
            <a:r>
              <a:rPr lang="en-US" sz="1333" dirty="0">
                <a:solidFill>
                  <a:srgbClr val="000000"/>
                </a:solidFill>
              </a:rPr>
              <a:t>.</a:t>
            </a:r>
            <a:endParaRPr lang="en-US" sz="1333" b="1" u="sng" dirty="0">
              <a:solidFill>
                <a:srgbClr val="000000"/>
              </a:solidFill>
            </a:endParaRPr>
          </a:p>
          <a:p>
            <a:pPr algn="l">
              <a:spcBef>
                <a:spcPts val="0"/>
              </a:spcBef>
            </a:pPr>
            <a:endParaRPr lang="en-US" b="1" dirty="0" smtClean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/>
              <a:t>Allergens</a:t>
            </a:r>
            <a:endParaRPr lang="en-US" b="1" u="sng" dirty="0"/>
          </a:p>
        </p:txBody>
      </p:sp>
      <p:sp>
        <p:nvSpPr>
          <p:cNvPr id="5" name="TextBox 4"/>
          <p:cNvSpPr txBox="1"/>
          <p:nvPr/>
        </p:nvSpPr>
        <p:spPr>
          <a:xfrm>
            <a:off x="0" y="6478344"/>
            <a:ext cx="101502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</a:rPr>
              <a:t>Dinner 2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2315" y="3911710"/>
            <a:ext cx="623712" cy="66746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25761" y="3912817"/>
            <a:ext cx="631395" cy="66635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51590" y="3905202"/>
            <a:ext cx="620820" cy="67397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5" t="8753" r="14897" b="2054"/>
          <a:stretch/>
        </p:blipFill>
        <p:spPr>
          <a:xfrm>
            <a:off x="2806254" y="1028565"/>
            <a:ext cx="6579491" cy="537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823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28565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900" b="1" dirty="0"/>
              <a:t>Moroccan-style Meatballs</a:t>
            </a:r>
            <a:br>
              <a:rPr lang="en-US" sz="4900" b="1" dirty="0"/>
            </a:br>
            <a:r>
              <a:rPr lang="en-US" sz="3600" b="1" dirty="0"/>
              <a:t>soft-poached egg, tomato ragout, rice &amp; beans</a:t>
            </a:r>
            <a:endParaRPr lang="en-US" sz="3600" b="1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676413" y="992059"/>
            <a:ext cx="2515586" cy="5435702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</a:rPr>
              <a:t>Flavor </a:t>
            </a:r>
            <a:r>
              <a:rPr lang="en-US" b="1" u="sng" dirty="0">
                <a:solidFill>
                  <a:schemeClr val="tx1">
                    <a:lumMod val="50000"/>
                  </a:schemeClr>
                </a:solidFill>
              </a:rPr>
              <a:t>Profile &amp; Texture</a:t>
            </a:r>
          </a:p>
          <a:p>
            <a:pPr marL="156629" indent="-146047" algn="l"/>
            <a:r>
              <a:rPr lang="en-US" dirty="0" smtClean="0">
                <a:solidFill>
                  <a:schemeClr val="tx1">
                    <a:lumMod val="50000"/>
                  </a:schemeClr>
                </a:solidFill>
              </a:rPr>
              <a:t>    Rich Moroccan-spiced beef meatballs accompanied by a sweet paprika rice and beans.</a:t>
            </a:r>
          </a:p>
          <a:p>
            <a:pPr marL="156629" indent="-146047" algn="l"/>
            <a:r>
              <a:rPr lang="en-US" dirty="0" smtClean="0">
                <a:solidFill>
                  <a:schemeClr val="tx1">
                    <a:lumMod val="50000"/>
                  </a:schemeClr>
                </a:solidFill>
              </a:rPr>
              <a:t>    The dish can be topped by a freshly poached egg.</a:t>
            </a:r>
          </a:p>
          <a:p>
            <a:pPr algn="l"/>
            <a:endParaRPr lang="en-US" b="1" dirty="0" smtClean="0">
              <a:solidFill>
                <a:schemeClr val="tx1">
                  <a:lumMod val="50000"/>
                </a:schemeClr>
              </a:solidFill>
            </a:endParaRPr>
          </a:p>
          <a:p>
            <a:pPr algn="l"/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</a:rPr>
              <a:t>Menu Explanation</a:t>
            </a:r>
            <a:endParaRPr lang="en-US" b="1" u="sng" dirty="0">
              <a:solidFill>
                <a:schemeClr val="tx1">
                  <a:lumMod val="50000"/>
                </a:schemeClr>
              </a:solidFill>
            </a:endParaRPr>
          </a:p>
          <a:p>
            <a:pPr marL="162980" lvl="1" indent="-162980"/>
            <a:r>
              <a:rPr lang="en-US" sz="1333" dirty="0">
                <a:solidFill>
                  <a:schemeClr val="tx1">
                    <a:lumMod val="50000"/>
                  </a:schemeClr>
                </a:solidFill>
              </a:rPr>
              <a:t>Flavors of Moroccan cuisine include mint, peppermint, parsley, coriander, marjoram, caraway and sage.</a:t>
            </a:r>
            <a:endParaRPr lang="en-US" b="1" dirty="0" smtClean="0">
              <a:solidFill>
                <a:schemeClr val="tx1">
                  <a:lumMod val="50000"/>
                </a:schemeClr>
              </a:solidFill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b="1" dirty="0" smtClean="0">
              <a:solidFill>
                <a:schemeClr val="tx1">
                  <a:lumMod val="50000"/>
                </a:schemeClr>
              </a:solidFill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</a:rPr>
              <a:t>Terminology</a:t>
            </a:r>
            <a:endParaRPr lang="en-US" b="1" u="sng" dirty="0">
              <a:solidFill>
                <a:schemeClr val="tx1">
                  <a:lumMod val="50000"/>
                </a:schemeClr>
              </a:solidFill>
            </a:endParaRPr>
          </a:p>
          <a:p>
            <a:pPr marL="224361" indent="-224361" algn="l">
              <a:spcBef>
                <a:spcPts val="0"/>
              </a:spcBef>
            </a:pPr>
            <a:r>
              <a:rPr lang="en-US" u="sng" dirty="0" smtClean="0">
                <a:solidFill>
                  <a:schemeClr val="tx1">
                    <a:lumMod val="50000"/>
                  </a:schemeClr>
                </a:solidFill>
              </a:rPr>
              <a:t>Ragout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</a:rPr>
              <a:t> -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a highly seasoned dish of meat cut into small pieces and stewed with vegetables</a:t>
            </a:r>
          </a:p>
          <a:p>
            <a:pPr algn="l">
              <a:spcBef>
                <a:spcPts val="0"/>
              </a:spcBef>
            </a:pPr>
            <a:endParaRPr lang="en-US" u="sng" dirty="0" smtClean="0">
              <a:solidFill>
                <a:schemeClr val="tx1">
                  <a:lumMod val="50000"/>
                </a:schemeClr>
              </a:solidFill>
            </a:endParaRPr>
          </a:p>
          <a:p>
            <a:pPr algn="l">
              <a:spcBef>
                <a:spcPts val="0"/>
              </a:spcBef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</a:rPr>
              <a:t>Allergens</a:t>
            </a:r>
            <a:endParaRPr lang="en-US" u="sng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472927"/>
            <a:ext cx="101502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</a:rPr>
              <a:t>Dinner 2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897" y="5110746"/>
            <a:ext cx="644800" cy="68050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58423" y="5110746"/>
            <a:ext cx="623712" cy="66746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50982" y="5124894"/>
            <a:ext cx="618549" cy="66635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822" y="1486925"/>
            <a:ext cx="6908693" cy="4606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733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235438"/>
            <a:ext cx="12192000" cy="101188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900" b="1" dirty="0" smtClean="0"/>
              <a:t>Ernesto Burger </a:t>
            </a:r>
            <a:r>
              <a:rPr lang="en-US" sz="2700" b="1" dirty="0"/>
              <a:t>by Ernesto </a:t>
            </a:r>
            <a:r>
              <a:rPr lang="en-US" sz="2700" b="1" dirty="0" err="1" smtClean="0"/>
              <a:t>Uchimura</a:t>
            </a:r>
            <a:r>
              <a:rPr lang="en-US" sz="2700" b="1" dirty="0"/>
              <a:t/>
            </a:r>
            <a:br>
              <a:rPr lang="en-US" sz="2700" b="1" dirty="0"/>
            </a:br>
            <a:r>
              <a:rPr lang="en-US" sz="2700" b="1" dirty="0"/>
              <a:t>gruyere cheese, pork belly, Kimchi, beer battered jalapenos, charred </a:t>
            </a:r>
            <a:r>
              <a:rPr lang="en-US" sz="2700" b="1" dirty="0" err="1"/>
              <a:t>oinion</a:t>
            </a:r>
            <a:r>
              <a:rPr lang="en-US" sz="2700" b="1" dirty="0"/>
              <a:t> aioli, French fries  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2000" b="1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431441" y="1192806"/>
            <a:ext cx="2691778" cy="5140415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/>
            <a:r>
              <a:rPr lang="en-US" b="1" u="sng" dirty="0"/>
              <a:t>Flavor 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Ernesto’s burgers feature a unique combination of rib eye steak and beef short rib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</a:rPr>
              <a:t>Freshly baked brioche buns</a:t>
            </a:r>
          </a:p>
          <a:p>
            <a:pPr marL="162980" lvl="1" indent="-162980">
              <a:spcBef>
                <a:spcPts val="0"/>
              </a:spcBef>
            </a:pPr>
            <a:endParaRPr lang="en-US" sz="1333" dirty="0">
              <a:solidFill>
                <a:srgbClr val="000000"/>
              </a:solidFill>
            </a:endParaRPr>
          </a:p>
          <a:p>
            <a:pPr algn="l"/>
            <a:r>
              <a:rPr lang="en-US" b="1" u="sng" dirty="0"/>
              <a:t>Menu Explanation</a:t>
            </a:r>
          </a:p>
          <a:p>
            <a:pPr marL="162980" lvl="1" indent="-162980"/>
            <a:r>
              <a:rPr lang="en-US" sz="1333" dirty="0">
                <a:solidFill>
                  <a:srgbClr val="000000"/>
                </a:solidFill>
              </a:rPr>
              <a:t>Part of a unique collection of burgers made exclusively for Princess.  </a:t>
            </a:r>
            <a:endParaRPr lang="en-US" sz="1333" dirty="0" smtClean="0">
              <a:solidFill>
                <a:srgbClr val="000000"/>
              </a:solidFill>
            </a:endParaRPr>
          </a:p>
          <a:p>
            <a:pPr marL="162980" lvl="1" indent="-162980"/>
            <a:endParaRPr lang="en-US" sz="533" b="1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/>
              <a:t>Terminology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933" b="1" u="sng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u="sng" dirty="0" smtClean="0"/>
              <a:t>Aioli</a:t>
            </a:r>
            <a:r>
              <a:rPr lang="en-US" dirty="0" smtClean="0"/>
              <a:t> - </a:t>
            </a:r>
            <a:r>
              <a:rPr lang="en-US" dirty="0"/>
              <a:t>a Mediterranean sauce made of garlic and olive </a:t>
            </a:r>
            <a:r>
              <a:rPr lang="en-US" dirty="0" smtClean="0"/>
              <a:t>oil</a:t>
            </a:r>
            <a:endParaRPr lang="en-US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800" u="sng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/>
              <a:t>Allergens</a:t>
            </a:r>
            <a:endParaRPr lang="en-US" u="sng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9950" y="6333221"/>
            <a:ext cx="2832100" cy="5334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6488668"/>
            <a:ext cx="9893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0070AF"/>
                </a:solidFill>
              </a:rPr>
              <a:t>Dinner 2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0012" y="1192806"/>
            <a:ext cx="7324860" cy="513930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01513" y="5249500"/>
            <a:ext cx="644800" cy="68050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25398" y="5262541"/>
            <a:ext cx="623712" cy="66746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14392" y="4521020"/>
            <a:ext cx="620564" cy="67397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38277" y="4521020"/>
            <a:ext cx="620820" cy="67397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990230" y="4521020"/>
            <a:ext cx="618549" cy="67397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983806" y="5256573"/>
            <a:ext cx="631395" cy="666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63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449149"/>
            <a:ext cx="12192000" cy="2323782"/>
          </a:xfrm>
        </p:spPr>
        <p:txBody>
          <a:bodyPr>
            <a:normAutofit/>
          </a:bodyPr>
          <a:lstStyle/>
          <a:p>
            <a:pPr algn="ctr"/>
            <a:r>
              <a:rPr lang="en-US" sz="6000" u="sng" dirty="0" smtClean="0">
                <a:latin typeface="Calibri" panose="020F0502020204030204" pitchFamily="34" charset="0"/>
              </a:rPr>
              <a:t>Italian Dinner</a:t>
            </a:r>
            <a:endParaRPr lang="en-US" sz="6000" u="sng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6653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1109844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900" b="1" dirty="0">
                <a:latin typeface="Calibri Light" panose="020F0302020204030204" pitchFamily="34" charset="0"/>
              </a:rPr>
              <a:t>Seafood Antipasto*</a:t>
            </a:r>
            <a:br>
              <a:rPr lang="en-US" sz="4900" b="1" dirty="0">
                <a:latin typeface="Calibri Light" panose="020F0302020204030204" pitchFamily="34" charset="0"/>
              </a:rPr>
            </a:br>
            <a:r>
              <a:rPr lang="en-US" sz="2700" b="1" dirty="0">
                <a:latin typeface="Calibri Light" panose="020F0302020204030204" pitchFamily="34" charset="0"/>
              </a:rPr>
              <a:t>shrimp, squid, black mussels, white balsamic pickled vegetables, olive-red pepper spread, </a:t>
            </a:r>
            <a:r>
              <a:rPr lang="en-US" sz="2700" b="1" dirty="0" smtClean="0">
                <a:latin typeface="Calibri Light" panose="020F0302020204030204" pitchFamily="34" charset="0"/>
              </a:rPr>
              <a:t>Kalamata </a:t>
            </a:r>
            <a:r>
              <a:rPr lang="en-US" sz="2700" b="1" dirty="0">
                <a:latin typeface="Calibri Light" panose="020F0302020204030204" pitchFamily="34" charset="0"/>
              </a:rPr>
              <a:t>olives</a:t>
            </a:r>
            <a:endParaRPr lang="en-US" sz="2700" b="1" dirty="0">
              <a:latin typeface="Calibri Light" panose="020F030202020403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074760" y="1124058"/>
            <a:ext cx="3117240" cy="5380721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en-US" sz="1330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Flavor </a:t>
            </a:r>
            <a:r>
              <a:rPr lang="en-US" sz="1330" b="1" u="sng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hrimp, mussels, squid, 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Balsamic picked vegetables.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Olive-red pepper sauc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Garnished with black olives and parsley</a:t>
            </a:r>
          </a:p>
          <a:p>
            <a:pPr algn="l">
              <a:spcBef>
                <a:spcPts val="0"/>
              </a:spcBef>
            </a:pPr>
            <a:endParaRPr lang="en-US" sz="1330" b="1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en-US" sz="1330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Menu Explanation</a:t>
            </a:r>
            <a:endParaRPr lang="en-US" sz="1330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162980" lvl="1" indent="-162980">
              <a:spcBef>
                <a:spcPts val="0"/>
              </a:spcBef>
            </a:pPr>
            <a:r>
              <a:rPr lang="en-US" sz="133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hilled seafood marinated in fresh lemon juice, olive oil and herbs, with a rich  sauce perfect for dipping.</a:t>
            </a:r>
          </a:p>
          <a:p>
            <a:pPr marL="162980" lvl="1" indent="-162980">
              <a:spcBef>
                <a:spcPts val="0"/>
              </a:spcBef>
            </a:pPr>
            <a:endParaRPr lang="en-US" sz="1330" b="1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sz="1330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Terminology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1330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30712" indent="-224361" algn="l">
              <a:spcBef>
                <a:spcPts val="0"/>
              </a:spcBef>
            </a:pPr>
            <a:r>
              <a:rPr lang="en-US" sz="1330" u="sng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cs typeface="BrowalliaUPC" panose="020B0604020202020204" pitchFamily="34" charset="-34"/>
              </a:rPr>
              <a:t>Antipasto</a:t>
            </a:r>
            <a:r>
              <a:rPr lang="en-US" sz="133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cs typeface="BrowalliaUPC" panose="020B0604020202020204" pitchFamily="34" charset="-34"/>
              </a:rPr>
              <a:t> - </a:t>
            </a:r>
            <a:r>
              <a:rPr lang="en-US" sz="133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n appetizer typically consisting of olives, anchovies, cheeses, and meats</a:t>
            </a:r>
          </a:p>
          <a:p>
            <a:pPr marL="230712" indent="-224361" algn="l">
              <a:spcBef>
                <a:spcPts val="0"/>
              </a:spcBef>
            </a:pPr>
            <a:endParaRPr lang="en-US" sz="1330" u="sng" dirty="0">
              <a:solidFill>
                <a:srgbClr val="20275B"/>
              </a:solidFill>
              <a:latin typeface="Calibri" panose="020F0502020204030204" pitchFamily="34" charset="0"/>
              <a:cs typeface="BrowalliaUPC" panose="020B0604020202020204" pitchFamily="34" charset="-34"/>
            </a:endParaRPr>
          </a:p>
          <a:p>
            <a:pPr marL="6351" algn="l">
              <a:spcBef>
                <a:spcPts val="0"/>
              </a:spcBef>
            </a:pPr>
            <a:r>
              <a:rPr lang="en-US" sz="1330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llergens</a:t>
            </a:r>
            <a:endParaRPr lang="en-US" sz="1330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  <a:cs typeface="BrowalliaUPC" panose="020B0604020202020204" pitchFamily="34" charset="-34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478344"/>
            <a:ext cx="1453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  <a:latin typeface="Calibri" panose="020F0502020204030204" pitchFamily="34" charset="0"/>
              </a:rPr>
              <a:t>Italian Dinner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44863" y="4849785"/>
            <a:ext cx="620564" cy="67397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80597" y="4849786"/>
            <a:ext cx="620820" cy="67397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45" t="7887" r="18241"/>
          <a:stretch/>
        </p:blipFill>
        <p:spPr>
          <a:xfrm>
            <a:off x="2048259" y="1153245"/>
            <a:ext cx="6284371" cy="5351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55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677"/>
            <a:ext cx="12192000" cy="101188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900" b="1" dirty="0">
                <a:latin typeface="Calibri Light" panose="020F0302020204030204" pitchFamily="34" charset="0"/>
              </a:rPr>
              <a:t>Prosciutto </a:t>
            </a:r>
            <a:r>
              <a:rPr lang="en-US" sz="4900" b="1" dirty="0" err="1">
                <a:latin typeface="Calibri Light" panose="020F0302020204030204" pitchFamily="34" charset="0"/>
              </a:rPr>
              <a:t>Crudo</a:t>
            </a:r>
            <a:r>
              <a:rPr lang="en-US" sz="4900" b="1" dirty="0">
                <a:latin typeface="Calibri Light" panose="020F0302020204030204" pitchFamily="34" charset="0"/>
              </a:rPr>
              <a:t> con </a:t>
            </a:r>
            <a:r>
              <a:rPr lang="en-US" sz="4900" b="1" dirty="0" err="1">
                <a:latin typeface="Calibri Light" panose="020F0302020204030204" pitchFamily="34" charset="0"/>
              </a:rPr>
              <a:t>Melone</a:t>
            </a:r>
            <a:r>
              <a:rPr lang="en-US" sz="4900" b="1" dirty="0">
                <a:latin typeface="Calibri Light" panose="020F0302020204030204" pitchFamily="34" charset="0"/>
              </a:rPr>
              <a:t> </a:t>
            </a:r>
            <a:br>
              <a:rPr lang="en-US" sz="4900" b="1" dirty="0">
                <a:latin typeface="Calibri Light" panose="020F0302020204030204" pitchFamily="34" charset="0"/>
              </a:rPr>
            </a:br>
            <a:r>
              <a:rPr lang="en-US" sz="3100" b="1" dirty="0">
                <a:latin typeface="Calibri Light" panose="020F0302020204030204" pitchFamily="34" charset="0"/>
              </a:rPr>
              <a:t>dry-cured ham, sweet cantaloupe melon</a:t>
            </a:r>
            <a:endParaRPr lang="en-US" sz="3100" b="1" dirty="0">
              <a:latin typeface="Calibri Light" panose="020F030202020403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8946292" y="1145059"/>
            <a:ext cx="3245708" cy="5217442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</a:pPr>
            <a:r>
              <a:rPr lang="en-US" b="1" u="sng" dirty="0" smtClean="0">
                <a:latin typeface="Calibri" panose="020F0502020204030204" pitchFamily="34" charset="0"/>
              </a:rPr>
              <a:t>Flavor </a:t>
            </a:r>
            <a:r>
              <a:rPr lang="en-US" b="1" u="sng" dirty="0">
                <a:latin typeface="Calibri" panose="020F0502020204030204" pitchFamily="34" charset="0"/>
              </a:rPr>
              <a:t>Profile &amp; Texture</a:t>
            </a:r>
          </a:p>
          <a:p>
            <a:pPr marL="230712" indent="-224361" algn="l">
              <a:spcBef>
                <a:spcPts val="0"/>
              </a:spcBef>
            </a:pPr>
            <a:r>
              <a:rPr lang="en-US" dirty="0" smtClean="0">
                <a:latin typeface="Calibri" panose="020F0502020204030204" pitchFamily="34" charset="0"/>
              </a:rPr>
              <a:t>Thinly sliced cured Italian ham</a:t>
            </a:r>
          </a:p>
          <a:p>
            <a:pPr marL="230712" indent="-224361" algn="l">
              <a:spcBef>
                <a:spcPts val="0"/>
              </a:spcBef>
            </a:pPr>
            <a:r>
              <a:rPr lang="en-US" dirty="0" smtClean="0">
                <a:latin typeface="Calibri" panose="020F0502020204030204" pitchFamily="34" charset="0"/>
              </a:rPr>
              <a:t>Sweet cantaloupe melon</a:t>
            </a:r>
          </a:p>
          <a:p>
            <a:pPr marL="230712" indent="-224361" algn="l">
              <a:spcBef>
                <a:spcPts val="0"/>
              </a:spcBef>
            </a:pPr>
            <a:r>
              <a:rPr lang="en-US" dirty="0" smtClean="0">
                <a:latin typeface="Calibri" panose="020F0502020204030204" pitchFamily="34" charset="0"/>
              </a:rPr>
              <a:t>Toasted baguette slices</a:t>
            </a:r>
          </a:p>
          <a:p>
            <a:pPr marL="230712" indent="-224361" algn="l">
              <a:spcBef>
                <a:spcPts val="0"/>
              </a:spcBef>
            </a:pPr>
            <a:r>
              <a:rPr lang="en-US" dirty="0" smtClean="0">
                <a:latin typeface="Calibri" panose="020F0502020204030204" pitchFamily="34" charset="0"/>
              </a:rPr>
              <a:t>Garnished with fresh chervil</a:t>
            </a:r>
          </a:p>
          <a:p>
            <a:pPr algn="l">
              <a:spcBef>
                <a:spcPts val="0"/>
              </a:spcBef>
            </a:pPr>
            <a:endParaRPr lang="en-US" b="1" dirty="0" smtClean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en-US" b="1" u="sng" dirty="0" smtClean="0">
                <a:latin typeface="Calibri" panose="020F0502020204030204" pitchFamily="34" charset="0"/>
              </a:rPr>
              <a:t>Menu Explanation</a:t>
            </a:r>
            <a:endParaRPr lang="en-US" b="1" u="sng" dirty="0">
              <a:latin typeface="Calibri" panose="020F0502020204030204" pitchFamily="34" charset="0"/>
            </a:endParaRPr>
          </a:p>
          <a:p>
            <a:pPr marL="230712" indent="-224361" algn="l">
              <a:spcBef>
                <a:spcPts val="0"/>
              </a:spcBef>
            </a:pPr>
            <a:r>
              <a:rPr lang="en-US" dirty="0" smtClean="0">
                <a:latin typeface="Calibri" panose="020F0502020204030204" pitchFamily="34" charset="0"/>
              </a:rPr>
              <a:t>      A contrast between the saltiness of the prosciutto and the sweetness of the fruit.</a:t>
            </a:r>
          </a:p>
          <a:p>
            <a:pPr marL="230712" indent="-224361" algn="l">
              <a:spcBef>
                <a:spcPts val="0"/>
              </a:spcBef>
            </a:pPr>
            <a:endParaRPr lang="en-US" b="1" dirty="0" smtClean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>
                <a:latin typeface="Calibri" panose="020F0502020204030204" pitchFamily="34" charset="0"/>
              </a:rPr>
              <a:t>Allergens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b="1" u="sng" dirty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smtClean="0">
                <a:latin typeface="Calibri" panose="020F0502020204030204" pitchFamily="34" charset="0"/>
              </a:rPr>
              <a:t>   </a:t>
            </a:r>
            <a:r>
              <a:rPr lang="en-US" dirty="0" smtClean="0">
                <a:latin typeface="Calibri" panose="020F0502020204030204" pitchFamily="34" charset="0"/>
              </a:rPr>
              <a:t>N/A</a:t>
            </a:r>
            <a:endParaRPr lang="en-US" dirty="0" smtClean="0"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buClr>
                <a:srgbClr val="747D98"/>
              </a:buClr>
            </a:pPr>
            <a:endParaRPr lang="en-US" b="1" u="sng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0" y="6478344"/>
            <a:ext cx="1453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  <a:latin typeface="Calibri" panose="020F0502020204030204" pitchFamily="34" charset="0"/>
              </a:rPr>
              <a:t>Italian Dinner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9209" y="1145059"/>
            <a:ext cx="5493582" cy="5522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501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677"/>
            <a:ext cx="12192000" cy="1011888"/>
          </a:xfrm>
        </p:spPr>
        <p:txBody>
          <a:bodyPr>
            <a:normAutofit fontScale="90000"/>
          </a:bodyPr>
          <a:lstStyle/>
          <a:p>
            <a:pPr algn="ctr"/>
            <a:r>
              <a:rPr lang="it-IT" sz="4900" b="1" dirty="0">
                <a:latin typeface="Calibri Light" panose="020F0302020204030204" pitchFamily="34" charset="0"/>
              </a:rPr>
              <a:t>(V) Melanzane alla Parmigiana </a:t>
            </a:r>
            <a:br>
              <a:rPr lang="it-IT" sz="4900" b="1" dirty="0">
                <a:latin typeface="Calibri Light" panose="020F0302020204030204" pitchFamily="34" charset="0"/>
              </a:rPr>
            </a:br>
            <a:r>
              <a:rPr lang="it-IT" sz="3100" b="1" dirty="0" smtClean="0">
                <a:latin typeface="Calibri Light" panose="020F0302020204030204" pitchFamily="34" charset="0"/>
              </a:rPr>
              <a:t>eggplant</a:t>
            </a:r>
            <a:r>
              <a:rPr lang="it-IT" sz="3100" b="1" dirty="0">
                <a:latin typeface="Calibri Light" panose="020F0302020204030204" pitchFamily="34" charset="0"/>
              </a:rPr>
              <a:t>, tomato sauce, mozzarella cheese gratin, basil leaves</a:t>
            </a:r>
            <a:endParaRPr lang="en-US" sz="3100" b="1" dirty="0">
              <a:latin typeface="Calibri Light" panose="020F030202020403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430546" y="1086230"/>
            <a:ext cx="2712174" cy="5513692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Flavor </a:t>
            </a:r>
            <a:r>
              <a:rPr lang="en-US" b="1" u="sng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Thinly sliced and fried eggplant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Layered with creamy mozzarella cheese and rich tomato sauc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Topped with fresh basil and parmesan cheese.</a:t>
            </a:r>
          </a:p>
          <a:p>
            <a:pPr algn="l">
              <a:spcBef>
                <a:spcPts val="0"/>
              </a:spcBef>
            </a:pPr>
            <a:endParaRPr lang="en-US" b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Menu Explanation</a:t>
            </a:r>
            <a:endParaRPr lang="en-US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Fresh tomato, eggplant layered with cheese and topped with fried basil.</a:t>
            </a:r>
            <a:endParaRPr lang="en-US" b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b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llergens</a:t>
            </a:r>
            <a:endParaRPr lang="en-US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478344"/>
            <a:ext cx="1453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  <a:latin typeface="Calibri" panose="020F0502020204030204" pitchFamily="34" charset="0"/>
              </a:rPr>
              <a:t>Italian Dinner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91216" y="3812843"/>
            <a:ext cx="631395" cy="66635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99025" y="3811736"/>
            <a:ext cx="623712" cy="66746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6" t="13145" r="9703" b="7230"/>
          <a:stretch/>
        </p:blipFill>
        <p:spPr>
          <a:xfrm>
            <a:off x="1453026" y="1403797"/>
            <a:ext cx="7740203" cy="440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623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16677"/>
            <a:ext cx="12167372" cy="1011888"/>
          </a:xfrm>
        </p:spPr>
        <p:txBody>
          <a:bodyPr>
            <a:noAutofit/>
          </a:bodyPr>
          <a:lstStyle/>
          <a:p>
            <a:pPr algn="ctr"/>
            <a:r>
              <a:rPr lang="en-US" b="1" dirty="0" smtClean="0"/>
              <a:t>Baked Potato Soup (v)</a:t>
            </a:r>
            <a:br>
              <a:rPr lang="en-US" b="1" dirty="0" smtClean="0"/>
            </a:br>
            <a:r>
              <a:rPr lang="en-US" sz="3200" b="1" dirty="0"/>
              <a:t>w/ Roasted Corn Relish &amp; Aged Chedd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03975"/>
            <a:ext cx="420687" cy="263525"/>
          </a:xfrm>
        </p:spPr>
        <p:txBody>
          <a:bodyPr/>
          <a:lstStyle/>
          <a:p>
            <a:fld id="{4318D29D-AAC0-4C27-B9BE-B09295871DA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Content Placeholder 5"/>
          <p:cNvSpPr txBox="1">
            <a:spLocks/>
          </p:cNvSpPr>
          <p:nvPr/>
        </p:nvSpPr>
        <p:spPr>
          <a:xfrm>
            <a:off x="9681216" y="1087395"/>
            <a:ext cx="2510784" cy="5160893"/>
          </a:xfrm>
          <a:prstGeom prst="rect">
            <a:avLst/>
          </a:prstGeom>
        </p:spPr>
        <p:txBody>
          <a:bodyPr>
            <a:normAutofit/>
          </a:bodyPr>
          <a:lstStyle>
            <a:lvl1pPr marL="342826" indent="-261881" algn="l" rtl="0" eaLnBrk="1" fontAlgn="base" hangingPunct="1">
              <a:spcBef>
                <a:spcPts val="1949"/>
              </a:spcBef>
              <a:spcAft>
                <a:spcPct val="0"/>
              </a:spcAft>
              <a:buClr>
                <a:srgbClr val="7F7F7F"/>
              </a:buClr>
              <a:buSzPct val="100000"/>
              <a:buFont typeface="Courier New" pitchFamily="49" charset="0"/>
              <a:buChar char="o"/>
              <a:defRPr sz="2300">
                <a:solidFill>
                  <a:schemeClr val="tx1">
                    <a:lumMod val="65000"/>
                    <a:lumOff val="35000"/>
                  </a:schemeClr>
                </a:solidFill>
                <a:latin typeface="Chalet EnglishChannel"/>
                <a:ea typeface="+mn-ea"/>
                <a:cs typeface="+mn-cs"/>
                <a:sym typeface="Arial" pitchFamily="34" charset="0"/>
              </a:defRPr>
            </a:lvl1pPr>
            <a:lvl2pPr marL="604707" indent="-261881" algn="l" rtl="0" eaLnBrk="1" fontAlgn="base" hangingPunct="1">
              <a:spcBef>
                <a:spcPts val="1949"/>
              </a:spcBef>
              <a:spcAft>
                <a:spcPct val="0"/>
              </a:spcAft>
              <a:buClr>
                <a:srgbClr val="7F7F7F"/>
              </a:buClr>
              <a:buSzPct val="100000"/>
              <a:buFont typeface="Courier New" pitchFamily="49" charset="0"/>
              <a:buChar char="o"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Chalet EnglishChannel"/>
                <a:ea typeface="+mn-ea"/>
                <a:cs typeface="+mn-cs"/>
                <a:sym typeface="Arial" pitchFamily="34" charset="0"/>
              </a:defRPr>
            </a:lvl2pPr>
            <a:lvl3pPr marL="876110" indent="-261881" algn="l" rtl="0" eaLnBrk="1" fontAlgn="base" hangingPunct="1">
              <a:spcBef>
                <a:spcPts val="1949"/>
              </a:spcBef>
              <a:spcAft>
                <a:spcPct val="0"/>
              </a:spcAft>
              <a:buClr>
                <a:srgbClr val="7F7F7F"/>
              </a:buClr>
              <a:buSzPct val="100000"/>
              <a:buFont typeface="Courier New" pitchFamily="49" charset="0"/>
              <a:buChar char="o"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Chalet EnglishChannel"/>
                <a:ea typeface="+mn-ea"/>
                <a:cs typeface="+mn-cs"/>
                <a:sym typeface="Arial" pitchFamily="34" charset="0"/>
              </a:defRPr>
            </a:lvl3pPr>
            <a:lvl4pPr marL="876110" indent="-261881" algn="l" rtl="0" eaLnBrk="1" fontAlgn="base" hangingPunct="1">
              <a:spcBef>
                <a:spcPts val="1949"/>
              </a:spcBef>
              <a:spcAft>
                <a:spcPct val="0"/>
              </a:spcAft>
              <a:buClr>
                <a:srgbClr val="7F7F7F"/>
              </a:buClr>
              <a:buSzPct val="100000"/>
              <a:buFont typeface="Courier New" pitchFamily="49" charset="0"/>
              <a:buChar char="o"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Chalet EnglishChannel"/>
                <a:ea typeface="+mn-ea"/>
                <a:cs typeface="+mn-cs"/>
                <a:sym typeface="Arial" pitchFamily="34" charset="0"/>
              </a:defRPr>
            </a:lvl4pPr>
            <a:lvl5pPr marL="876110" indent="-261881" algn="l" rtl="0" eaLnBrk="1" fontAlgn="base" hangingPunct="1">
              <a:spcBef>
                <a:spcPts val="1949"/>
              </a:spcBef>
              <a:spcAft>
                <a:spcPct val="0"/>
              </a:spcAft>
              <a:buClr>
                <a:srgbClr val="7F7F7F"/>
              </a:buClr>
              <a:buSzPct val="100000"/>
              <a:buFont typeface="Courier New" pitchFamily="49" charset="0"/>
              <a:buChar char="o"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Chalet EnglishChannel"/>
                <a:ea typeface="+mn-ea"/>
                <a:cs typeface="+mn-cs"/>
                <a:sym typeface="Arial" pitchFamily="34" charset="0"/>
              </a:defRPr>
            </a:lvl5pPr>
            <a:lvl6pPr marL="1047523" indent="-261881" algn="l" rtl="0" eaLnBrk="1" fontAlgn="base" hangingPunct="1">
              <a:spcBef>
                <a:spcPts val="1949"/>
              </a:spcBef>
              <a:spcAft>
                <a:spcPct val="0"/>
              </a:spcAft>
              <a:buClr>
                <a:srgbClr val="000000"/>
              </a:buClr>
              <a:buSzPct val="171000"/>
              <a:buFont typeface="Arial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charset="0"/>
              </a:defRPr>
            </a:lvl6pPr>
            <a:lvl7pPr marL="1218936" indent="-261881" algn="l" rtl="0" eaLnBrk="1" fontAlgn="base" hangingPunct="1">
              <a:spcBef>
                <a:spcPts val="1949"/>
              </a:spcBef>
              <a:spcAft>
                <a:spcPct val="0"/>
              </a:spcAft>
              <a:buClr>
                <a:srgbClr val="000000"/>
              </a:buClr>
              <a:buSzPct val="171000"/>
              <a:buFont typeface="Arial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charset="0"/>
              </a:defRPr>
            </a:lvl7pPr>
            <a:lvl8pPr marL="1390349" indent="-261881" algn="l" rtl="0" eaLnBrk="1" fontAlgn="base" hangingPunct="1">
              <a:spcBef>
                <a:spcPts val="1949"/>
              </a:spcBef>
              <a:spcAft>
                <a:spcPct val="0"/>
              </a:spcAft>
              <a:buClr>
                <a:srgbClr val="000000"/>
              </a:buClr>
              <a:buSzPct val="171000"/>
              <a:buFont typeface="Arial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charset="0"/>
              </a:defRPr>
            </a:lvl8pPr>
            <a:lvl9pPr marL="1561761" indent="-261881" algn="l" rtl="0" eaLnBrk="1" fontAlgn="base" hangingPunct="1">
              <a:spcBef>
                <a:spcPts val="1949"/>
              </a:spcBef>
              <a:spcAft>
                <a:spcPct val="0"/>
              </a:spcAft>
              <a:buClr>
                <a:srgbClr val="000000"/>
              </a:buClr>
              <a:buSzPct val="171000"/>
              <a:buFont typeface="Arial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charset="0"/>
              </a:defRPr>
            </a:lvl9pPr>
          </a:lstStyle>
          <a:p>
            <a:pPr marL="107924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330" b="1" u="sng" kern="0" dirty="0">
                <a:solidFill>
                  <a:schemeClr val="tx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Flavor Profile &amp; Texture</a:t>
            </a: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330" kern="0" dirty="0">
                <a:solidFill>
                  <a:schemeClr val="tx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Freshly Baked Potatoes</a:t>
            </a: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330" kern="0" dirty="0">
                <a:solidFill>
                  <a:schemeClr val="tx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Aged Cheddar Cheese</a:t>
            </a: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330" kern="0" dirty="0">
                <a:solidFill>
                  <a:schemeClr val="tx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Sweet Corn Relish</a:t>
            </a: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330" b="1" kern="0" dirty="0">
              <a:solidFill>
                <a:schemeClr val="tx1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marL="107924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330" b="1" u="sng" kern="0" dirty="0">
                <a:solidFill>
                  <a:schemeClr val="tx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Menu Explanation</a:t>
            </a:r>
            <a:endParaRPr lang="en-US" sz="1330" kern="0" dirty="0">
              <a:solidFill>
                <a:schemeClr val="tx1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330" kern="0" dirty="0">
                <a:solidFill>
                  <a:schemeClr val="tx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A hearty &amp; rich soup with savory corn relish and aged cheddar cheese.</a:t>
            </a: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330" kern="0" dirty="0">
                <a:solidFill>
                  <a:schemeClr val="tx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Available in small or large </a:t>
            </a:r>
            <a:r>
              <a:rPr lang="en-US" sz="1330" kern="0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portion.</a:t>
            </a:r>
            <a:endParaRPr lang="en-US" sz="1330" kern="0" dirty="0">
              <a:solidFill>
                <a:schemeClr val="tx1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marL="162980" lvl="1" indent="-162980">
              <a:lnSpc>
                <a:spcPct val="120000"/>
              </a:lnSpc>
              <a:spcBef>
                <a:spcPts val="0"/>
              </a:spcBef>
            </a:pPr>
            <a:endParaRPr lang="en-US" sz="1330" kern="0" dirty="0">
              <a:solidFill>
                <a:schemeClr val="tx1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marL="0" lvl="1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330" b="1" kern="0" dirty="0">
                <a:solidFill>
                  <a:schemeClr val="tx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330" b="1" u="sng" kern="0" dirty="0">
                <a:solidFill>
                  <a:schemeClr val="tx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Allergens</a:t>
            </a:r>
          </a:p>
          <a:p>
            <a:pPr marL="0" lvl="1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2400" b="1" u="sng" kern="0" dirty="0">
              <a:solidFill>
                <a:srgbClr val="20275B"/>
              </a:solidFill>
              <a:latin typeface="+mn-lt"/>
              <a:cs typeface="Arial" panose="020B0604020202020204" pitchFamily="34" charset="0"/>
            </a:endParaRPr>
          </a:p>
          <a:p>
            <a:pPr marL="0" lvl="1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2400" b="1" u="sng" kern="0" dirty="0">
              <a:solidFill>
                <a:srgbClr val="20275B"/>
              </a:solidFill>
              <a:latin typeface="+mn-lt"/>
              <a:cs typeface="Arial" panose="020B0604020202020204" pitchFamily="34" charset="0"/>
            </a:endParaRPr>
          </a:p>
          <a:p>
            <a:pPr marL="162980" lvl="1" indent="-162980">
              <a:lnSpc>
                <a:spcPct val="120000"/>
              </a:lnSpc>
              <a:spcBef>
                <a:spcPts val="0"/>
              </a:spcBef>
            </a:pPr>
            <a:endParaRPr lang="en-US" kern="0" dirty="0">
              <a:solidFill>
                <a:srgbClr val="20275B"/>
              </a:solidFill>
              <a:latin typeface="+mn-lt"/>
              <a:cs typeface="Arial" panose="020B0604020202020204" pitchFamily="34" charset="0"/>
            </a:endParaRPr>
          </a:p>
          <a:p>
            <a:pPr marL="0" lvl="1" indent="0">
              <a:lnSpc>
                <a:spcPct val="120000"/>
              </a:lnSpc>
              <a:spcBef>
                <a:spcPts val="0"/>
              </a:spcBef>
              <a:buNone/>
            </a:pPr>
            <a:endParaRPr lang="en-US" kern="0" dirty="0">
              <a:solidFill>
                <a:srgbClr val="20275B"/>
              </a:solidFill>
              <a:latin typeface="+mn-lt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</a:pPr>
            <a:endParaRPr lang="en-US" sz="1000" kern="0" dirty="0"/>
          </a:p>
          <a:p>
            <a:pPr>
              <a:spcBef>
                <a:spcPts val="0"/>
              </a:spcBef>
            </a:pPr>
            <a:endParaRPr lang="en-US" sz="1200" kern="0" dirty="0"/>
          </a:p>
          <a:p>
            <a:pPr>
              <a:spcBef>
                <a:spcPts val="0"/>
              </a:spcBef>
            </a:pPr>
            <a:endParaRPr lang="en-US" sz="1351" kern="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370231"/>
            <a:ext cx="2529681" cy="47644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97424" y="4337773"/>
            <a:ext cx="631395" cy="66635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4" r="6275"/>
          <a:stretch/>
        </p:blipFill>
        <p:spPr>
          <a:xfrm>
            <a:off x="2529681" y="1087395"/>
            <a:ext cx="7108010" cy="5129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97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677"/>
            <a:ext cx="12191999" cy="964540"/>
          </a:xfrm>
        </p:spPr>
        <p:txBody>
          <a:bodyPr>
            <a:noAutofit/>
          </a:bodyPr>
          <a:lstStyle/>
          <a:p>
            <a:pPr algn="ctr"/>
            <a:r>
              <a:rPr lang="it-IT" sz="4400" b="1" dirty="0" smtClean="0">
                <a:latin typeface="Calibri Light" panose="020F0302020204030204" pitchFamily="34" charset="0"/>
              </a:rPr>
              <a:t>(V) Minestrone </a:t>
            </a:r>
            <a:r>
              <a:rPr lang="it-IT" sz="4400" b="1" dirty="0">
                <a:latin typeface="Calibri Light" panose="020F0302020204030204" pitchFamily="34" charset="0"/>
              </a:rPr>
              <a:t>Soup</a:t>
            </a:r>
            <a:br>
              <a:rPr lang="it-IT" sz="4400" b="1" dirty="0">
                <a:latin typeface="Calibri Light" panose="020F0302020204030204" pitchFamily="34" charset="0"/>
              </a:rPr>
            </a:br>
            <a:r>
              <a:rPr lang="it-IT" sz="2800" b="1" dirty="0">
                <a:latin typeface="Calibri Light" panose="020F0302020204030204" pitchFamily="34" charset="0"/>
              </a:rPr>
              <a:t>vegetables, ditalini pasta, basil pesto</a:t>
            </a:r>
            <a:endParaRPr lang="en-US" sz="2800" b="1" dirty="0">
              <a:latin typeface="Calibri Light" panose="020F030202020403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476988" y="1075621"/>
            <a:ext cx="2711359" cy="5386022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b="1" u="sng" dirty="0" smtClean="0">
                <a:latin typeface="Calibri" panose="020F0502020204030204" pitchFamily="34" charset="0"/>
              </a:rPr>
              <a:t>Flavor </a:t>
            </a:r>
            <a:r>
              <a:rPr lang="en-US" b="1" u="sng" dirty="0">
                <a:latin typeface="Calibri" panose="020F0502020204030204" pitchFamily="34" charset="0"/>
              </a:rPr>
              <a:t>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Rich tomato based soup with fresh vegetables, pasta and topped with a basil pesto topping.</a:t>
            </a:r>
          </a:p>
          <a:p>
            <a:pPr algn="l"/>
            <a:endParaRPr lang="en-US" sz="533" b="1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/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Menu Explanation</a:t>
            </a:r>
            <a:endParaRPr lang="en-US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162980" lvl="1" indent="-162980"/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 famous Italian soup made with fresh root vegetables, Swiss chard and leeks slow cooked in a fresh tomato base.  </a:t>
            </a:r>
          </a:p>
          <a:p>
            <a:pPr marL="162980" lvl="1" indent="-162980"/>
            <a:endParaRPr lang="en-US" sz="533" b="1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Terminology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533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en-US" u="sng" dirty="0" err="1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Ditalini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- </a:t>
            </a:r>
            <a:r>
              <a:rPr lang="en-US" dirty="0" smtClean="0">
                <a:latin typeface="Calibri" panose="020F0502020204030204" pitchFamily="34" charset="0"/>
              </a:rPr>
              <a:t>a </a:t>
            </a:r>
            <a:r>
              <a:rPr lang="en-US" dirty="0">
                <a:latin typeface="Calibri" panose="020F0502020204030204" pitchFamily="34" charset="0"/>
              </a:rPr>
              <a:t>type of pasta that is shaped like small </a:t>
            </a:r>
            <a:r>
              <a:rPr lang="en-US" dirty="0" smtClean="0">
                <a:latin typeface="Calibri" panose="020F0502020204030204" pitchFamily="34" charset="0"/>
              </a:rPr>
              <a:t>tubes</a:t>
            </a:r>
          </a:p>
          <a:p>
            <a:pPr algn="l">
              <a:spcBef>
                <a:spcPts val="0"/>
              </a:spcBef>
            </a:pPr>
            <a:endParaRPr lang="en-US" b="1" u="sng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llergens</a:t>
            </a:r>
            <a:endParaRPr lang="en-US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453858"/>
            <a:ext cx="1453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  <a:latin typeface="Calibri" panose="020F0502020204030204" pitchFamily="34" charset="0"/>
              </a:rPr>
              <a:t>Italian Dinner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19794" y="4463946"/>
            <a:ext cx="623712" cy="66746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58227" y="4457426"/>
            <a:ext cx="644800" cy="68050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86312" y="4464499"/>
            <a:ext cx="631395" cy="66635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34289" y="4470496"/>
            <a:ext cx="618325" cy="66635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96" t="11528" r="20185" b="12777"/>
          <a:stretch/>
        </p:blipFill>
        <p:spPr>
          <a:xfrm>
            <a:off x="2610833" y="1075621"/>
            <a:ext cx="6866155" cy="4878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53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28565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>
                <a:latin typeface="Calibri Light" panose="020F0302020204030204" pitchFamily="34" charset="0"/>
              </a:rPr>
              <a:t>(V) Iced Peach Bellini Soup</a:t>
            </a:r>
            <a:br>
              <a:rPr lang="en-US" sz="4400" b="1" dirty="0">
                <a:latin typeface="Calibri Light" panose="020F0302020204030204" pitchFamily="34" charset="0"/>
              </a:rPr>
            </a:br>
            <a:r>
              <a:rPr lang="en-US" sz="2800" b="1" dirty="0">
                <a:latin typeface="Calibri Light" panose="020F0302020204030204" pitchFamily="34" charset="0"/>
              </a:rPr>
              <a:t>peach purée and sparkling prosecco</a:t>
            </a:r>
            <a:endParaRPr lang="en-US" sz="2800" b="1" dirty="0">
              <a:latin typeface="Calibri Light" panose="020F030202020403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447699" y="1120346"/>
            <a:ext cx="2744301" cy="5194996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b="1" u="sng" dirty="0" smtClean="0">
                <a:latin typeface="Calibri" panose="020F0502020204030204" pitchFamily="34" charset="0"/>
              </a:rPr>
              <a:t>Flavor </a:t>
            </a:r>
            <a:r>
              <a:rPr lang="en-US" b="1" u="sng" dirty="0">
                <a:latin typeface="Calibri" panose="020F0502020204030204" pitchFamily="34" charset="0"/>
              </a:rPr>
              <a:t>Profile &amp; Texture</a:t>
            </a:r>
          </a:p>
          <a:p>
            <a:pPr lvl="1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weet peaches, and a splash of sparking wine, peach schnapps with a hint of fresh lemon.</a:t>
            </a:r>
          </a:p>
          <a:p>
            <a:pPr lvl="1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Garnished with fresh mint and diced peaches.</a:t>
            </a:r>
          </a:p>
          <a:p>
            <a:pPr lvl="1">
              <a:spcBef>
                <a:spcPts val="0"/>
              </a:spcBef>
            </a:pPr>
            <a:endParaRPr lang="en-US" sz="667" b="1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/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Menu Explanation</a:t>
            </a:r>
            <a:endParaRPr lang="en-US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lvl="1"/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 sweet and refreshing soup between courses.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1067" b="1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Terminology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800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/>
            <a:r>
              <a:rPr lang="en-US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Prosecco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– A sparkling Italian wine made from the Glera Grape</a:t>
            </a:r>
            <a:endParaRPr lang="en-US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/>
            <a:endParaRPr lang="en-US" sz="667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/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llergens</a:t>
            </a:r>
          </a:p>
          <a:p>
            <a:pPr algn="l"/>
            <a:endParaRPr lang="en-US" b="1" u="sng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/>
            <a:r>
              <a:rPr lang="en-US" b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    N/A </a:t>
            </a:r>
            <a:endParaRPr lang="en-US" b="1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/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         </a:t>
            </a:r>
            <a:endParaRPr lang="en-US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478344"/>
            <a:ext cx="1453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  <a:latin typeface="Calibri" panose="020F0502020204030204" pitchFamily="34" charset="0"/>
              </a:rPr>
              <a:t>Italian Dinner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0" t="-11310" r="6792" b="-17954"/>
          <a:stretch/>
        </p:blipFill>
        <p:spPr>
          <a:xfrm>
            <a:off x="2744300" y="573563"/>
            <a:ext cx="6703399" cy="6284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7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-167425" y="0"/>
            <a:ext cx="12359425" cy="1011888"/>
          </a:xfrm>
        </p:spPr>
        <p:txBody>
          <a:bodyPr>
            <a:noAutofit/>
          </a:bodyPr>
          <a:lstStyle/>
          <a:p>
            <a:pPr algn="ctr"/>
            <a:r>
              <a:rPr lang="en-US" sz="3400" b="1" dirty="0">
                <a:latin typeface="Calibri Light" panose="020F0302020204030204" pitchFamily="34" charset="0"/>
              </a:rPr>
              <a:t>Mixed Greens, Baby Spinach, Crisp Bacon, Pecorino Cheese and </a:t>
            </a:r>
            <a:r>
              <a:rPr lang="en-US" sz="3400" b="1" dirty="0" smtClean="0">
                <a:latin typeface="Calibri Light" panose="020F0302020204030204" pitchFamily="34" charset="0"/>
              </a:rPr>
              <a:t>Pine Nuts</a:t>
            </a:r>
            <a:r>
              <a:rPr lang="en-US" sz="4400" b="1" dirty="0">
                <a:latin typeface="Calibri Light" panose="020F0302020204030204" pitchFamily="34" charset="0"/>
              </a:rPr>
              <a:t/>
            </a:r>
            <a:br>
              <a:rPr lang="en-US" sz="4400" b="1" dirty="0">
                <a:latin typeface="Calibri Light" panose="020F0302020204030204" pitchFamily="34" charset="0"/>
              </a:rPr>
            </a:br>
            <a:r>
              <a:rPr lang="en-US" sz="2800" b="1" dirty="0">
                <a:latin typeface="Calibri Light" panose="020F0302020204030204" pitchFamily="34" charset="0"/>
              </a:rPr>
              <a:t>selection of homemade and low-fat dressings</a:t>
            </a:r>
            <a:endParaRPr lang="en-US" sz="2800" b="1" dirty="0">
              <a:latin typeface="Calibri Light" panose="020F030202020403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605319" y="1108995"/>
            <a:ext cx="2586682" cy="5272003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Flavor </a:t>
            </a:r>
            <a:r>
              <a:rPr lang="en-US" b="1" u="sng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Leafy mixed greens, fresh spinach, crisp bacon, pecorino cheese and toasted pine nuts.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hoice of dressing</a:t>
            </a:r>
          </a:p>
          <a:p>
            <a:pPr algn="l"/>
            <a:endParaRPr lang="en-US" b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/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Menu Explanation</a:t>
            </a:r>
            <a:endParaRPr lang="en-US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162980" lvl="1" indent="-162980"/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This garden-fresh salad gets a kick from, crisp bacon bits and pecorino cheese combines the taste and flavor sensations of sweet, salty and nutty at the same time..</a:t>
            </a:r>
          </a:p>
          <a:p>
            <a:pPr algn="l">
              <a:spcBef>
                <a:spcPts val="0"/>
              </a:spcBef>
            </a:pPr>
            <a:endParaRPr lang="en-US" b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llergens</a:t>
            </a:r>
            <a:endParaRPr lang="en-US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478344"/>
            <a:ext cx="1453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  <a:latin typeface="Calibri" panose="020F0502020204030204" pitchFamily="34" charset="0"/>
              </a:rPr>
              <a:t>Italian Dinner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45474" y="4358665"/>
            <a:ext cx="631395" cy="66635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99155" y="4358666"/>
            <a:ext cx="652483" cy="66635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96" r="7036"/>
          <a:stretch/>
        </p:blipFill>
        <p:spPr>
          <a:xfrm>
            <a:off x="1777285" y="1011888"/>
            <a:ext cx="7381871" cy="5678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043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954" y="279054"/>
            <a:ext cx="12191999" cy="1011888"/>
          </a:xfrm>
        </p:spPr>
        <p:txBody>
          <a:bodyPr>
            <a:normAutofit fontScale="90000"/>
          </a:bodyPr>
          <a:lstStyle/>
          <a:p>
            <a:pPr algn="ctr"/>
            <a:r>
              <a:rPr lang="it-IT" sz="4900" b="1" dirty="0" smtClean="0">
                <a:latin typeface="Calibri Light" panose="020F0302020204030204" pitchFamily="34" charset="0"/>
              </a:rPr>
              <a:t>Spaghetti </a:t>
            </a:r>
            <a:r>
              <a:rPr lang="it-IT" sz="4900" b="1" dirty="0">
                <a:latin typeface="Calibri Light" panose="020F0302020204030204" pitchFamily="34" charset="0"/>
              </a:rPr>
              <a:t>con Polpette in Salsa di Pomodoro Fresco</a:t>
            </a:r>
            <a:br>
              <a:rPr lang="it-IT" sz="4900" b="1" dirty="0">
                <a:latin typeface="Calibri Light" panose="020F0302020204030204" pitchFamily="34" charset="0"/>
              </a:rPr>
            </a:br>
            <a:r>
              <a:rPr lang="it-IT" sz="3100" b="1" dirty="0">
                <a:latin typeface="Calibri Light" panose="020F0302020204030204" pitchFamily="34" charset="0"/>
              </a:rPr>
              <a:t>spaghetti with meatballs, fresh tomato </a:t>
            </a:r>
            <a:r>
              <a:rPr lang="it-IT" sz="3100" b="1" dirty="0" smtClean="0">
                <a:latin typeface="Calibri Light" panose="020F0302020204030204" pitchFamily="34" charset="0"/>
              </a:rPr>
              <a:t>sauce</a:t>
            </a:r>
            <a:endParaRPr lang="en-US" sz="3100" b="1" dirty="0">
              <a:latin typeface="Calibri Light" panose="020F030202020403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398526" y="1098935"/>
            <a:ext cx="2795427" cy="5523703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b="1" u="sng" dirty="0" smtClean="0">
                <a:latin typeface="Calibri" panose="020F0502020204030204" pitchFamily="34" charset="0"/>
              </a:rPr>
              <a:t>Flavor </a:t>
            </a:r>
            <a:r>
              <a:rPr lang="en-US" b="1" u="sng" dirty="0">
                <a:latin typeface="Calibri" panose="020F0502020204030204" pitchFamily="34" charset="0"/>
              </a:rPr>
              <a:t>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  <a:latin typeface="Calibri" panose="020F0502020204030204" pitchFamily="34" charset="0"/>
              </a:rPr>
              <a:t>Beef meatballs made with fresh breadcrumbs and with a hint of onion and garlic.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  <a:latin typeface="Calibri" panose="020F0502020204030204" pitchFamily="34" charset="0"/>
              </a:rPr>
              <a:t>Freshly made basil tomato sauc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  <a:latin typeface="Calibri" panose="020F0502020204030204" pitchFamily="34" charset="0"/>
              </a:rPr>
              <a:t>Salty parmigiana chees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rgbClr val="000000"/>
                </a:solidFill>
                <a:latin typeface="Calibri" panose="020F0502020204030204" pitchFamily="34" charset="0"/>
              </a:rPr>
              <a:t>Spaghetti noodles of durum wheat.</a:t>
            </a:r>
          </a:p>
          <a:p>
            <a:pPr marL="162980" lvl="1" indent="-162980">
              <a:spcBef>
                <a:spcPts val="0"/>
              </a:spcBef>
            </a:pPr>
            <a:endParaRPr lang="en-US" sz="1333" b="1" dirty="0">
              <a:latin typeface="Calibri" panose="020F0502020204030204" pitchFamily="34" charset="0"/>
            </a:endParaRPr>
          </a:p>
          <a:p>
            <a:pPr algn="l"/>
            <a:r>
              <a:rPr lang="en-US" b="1" u="sng" dirty="0" smtClean="0">
                <a:latin typeface="Calibri" panose="020F0502020204030204" pitchFamily="34" charset="0"/>
              </a:rPr>
              <a:t>Menu Explanation</a:t>
            </a:r>
          </a:p>
          <a:p>
            <a:pPr algn="l"/>
            <a:r>
              <a:rPr lang="en-US" dirty="0">
                <a:latin typeface="Calibri" panose="020F0502020204030204" pitchFamily="34" charset="0"/>
              </a:rPr>
              <a:t>A generous portion of pasta tossed with rich tomato sauce served with house made beef meatballs.</a:t>
            </a:r>
          </a:p>
          <a:p>
            <a:pPr algn="l"/>
            <a:endParaRPr lang="en-US" b="1" dirty="0" smtClean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>
                <a:latin typeface="Calibri" panose="020F0502020204030204" pitchFamily="34" charset="0"/>
              </a:rPr>
              <a:t>Allergens</a:t>
            </a:r>
            <a:endParaRPr lang="en-US" b="1" u="sng" dirty="0">
              <a:latin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478344"/>
            <a:ext cx="1453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  <a:latin typeface="Calibri" panose="020F0502020204030204" pitchFamily="34" charset="0"/>
              </a:rPr>
              <a:t>Italian Dinner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07185" y="4167007"/>
            <a:ext cx="647945" cy="6674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46440" y="4157606"/>
            <a:ext cx="644800" cy="66635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36222" y="4167007"/>
            <a:ext cx="631395" cy="66635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45" t="24278" r="15949" b="5188"/>
          <a:stretch/>
        </p:blipFill>
        <p:spPr>
          <a:xfrm>
            <a:off x="1925609" y="1509468"/>
            <a:ext cx="7000334" cy="4702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871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677"/>
            <a:ext cx="12192000" cy="101188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400" b="1" dirty="0">
                <a:latin typeface="Calibri Light" panose="020F0302020204030204" pitchFamily="34" charset="0"/>
              </a:rPr>
              <a:t>Grilled Salmon Fillet, Eggplant </a:t>
            </a:r>
            <a:r>
              <a:rPr lang="en-US" sz="4400" b="1" dirty="0" err="1">
                <a:latin typeface="Calibri Light" panose="020F0302020204030204" pitchFamily="34" charset="0"/>
              </a:rPr>
              <a:t>Caponata</a:t>
            </a:r>
            <a:r>
              <a:rPr lang="en-US" sz="4400" b="1" dirty="0">
                <a:latin typeface="Calibri Light" panose="020F0302020204030204" pitchFamily="34" charset="0"/>
              </a:rPr>
              <a:t> </a:t>
            </a:r>
            <a:r>
              <a:rPr lang="en-US" sz="4400" b="1" dirty="0" smtClean="0">
                <a:latin typeface="Calibri Light" panose="020F0302020204030204" pitchFamily="34" charset="0"/>
              </a:rPr>
              <a:t>                                      </a:t>
            </a:r>
            <a:r>
              <a:rPr lang="en-US" sz="3100" b="1" dirty="0" smtClean="0">
                <a:latin typeface="Calibri Light" panose="020F0302020204030204" pitchFamily="34" charset="0"/>
              </a:rPr>
              <a:t>Swiss chard, saffron-infused potatoes</a:t>
            </a:r>
            <a:endParaRPr lang="en-US" sz="3100" b="1" dirty="0">
              <a:latin typeface="Calibri Light" panose="020F030202020403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310599" y="1028565"/>
            <a:ext cx="2916219" cy="5571357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/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Flavor </a:t>
            </a:r>
            <a:r>
              <a:rPr lang="en-US" b="1" u="sng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Tender grilled salmon filet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wiss chard in butter &amp; garlic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affron infused potatoe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Eggplant </a:t>
            </a:r>
            <a:r>
              <a:rPr lang="en-US" sz="1333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aponata</a:t>
            </a:r>
            <a:endParaRPr lang="en-US" sz="1333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Lemon and herb butter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Rich buttery wine sauce</a:t>
            </a:r>
          </a:p>
          <a:p>
            <a:pPr marL="162980" lvl="1" indent="-162980">
              <a:spcBef>
                <a:spcPts val="0"/>
              </a:spcBef>
            </a:pPr>
            <a:endParaRPr lang="en-US" sz="1333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/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Menu Explanation</a:t>
            </a:r>
            <a:endParaRPr lang="en-US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Grilled salmon topped with buttery lemon wine sauce.. Rustic eggplant and sweet Swiss chard vegetable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.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Terminology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22245" indent="-222245" algn="l">
              <a:spcBef>
                <a:spcPts val="0"/>
              </a:spcBef>
            </a:pPr>
            <a:r>
              <a:rPr lang="en-US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aponata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-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 dish of eggplant, olives, and onions seasoned with herbs, typically served as an 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ppetizer</a:t>
            </a:r>
          </a:p>
          <a:p>
            <a:pPr algn="l">
              <a:spcBef>
                <a:spcPts val="0"/>
              </a:spcBef>
            </a:pPr>
            <a:endParaRPr lang="en-US" dirty="0" smtClean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en-US" b="1" u="sng" dirty="0" smtClean="0">
                <a:latin typeface="Calibri" panose="020F0502020204030204" pitchFamily="34" charset="0"/>
              </a:rPr>
              <a:t>Allergens</a:t>
            </a:r>
            <a:endParaRPr lang="en-US" dirty="0">
              <a:latin typeface="Calibri" panose="020F0502020204030204" pitchFamily="34" charset="0"/>
            </a:endParaRPr>
          </a:p>
          <a:p>
            <a:pPr marL="222245" indent="-222245" algn="l">
              <a:spcBef>
                <a:spcPts val="0"/>
              </a:spcBef>
            </a:pPr>
            <a:endParaRPr lang="en-US" u="sng" dirty="0"/>
          </a:p>
        </p:txBody>
      </p:sp>
      <p:sp>
        <p:nvSpPr>
          <p:cNvPr id="5" name="TextBox 4"/>
          <p:cNvSpPr txBox="1"/>
          <p:nvPr/>
        </p:nvSpPr>
        <p:spPr>
          <a:xfrm>
            <a:off x="0" y="6478344"/>
            <a:ext cx="1453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  <a:latin typeface="Calibri" panose="020F0502020204030204" pitchFamily="34" charset="0"/>
              </a:rPr>
              <a:t>Italian Dinner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9777" y="1028565"/>
            <a:ext cx="6509447" cy="506761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37969" y="5264110"/>
            <a:ext cx="623712" cy="66746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67195" y="5264110"/>
            <a:ext cx="620564" cy="67397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00831" y="5272279"/>
            <a:ext cx="631395" cy="666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064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321973"/>
            <a:ext cx="12192000" cy="112850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100" b="1" dirty="0" err="1">
                <a:latin typeface="Calibri Light" panose="020F0302020204030204" pitchFamily="34" charset="0"/>
              </a:rPr>
              <a:t>Capesante</a:t>
            </a:r>
            <a:r>
              <a:rPr lang="en-US" sz="4100" b="1" dirty="0">
                <a:latin typeface="Calibri Light" panose="020F0302020204030204" pitchFamily="34" charset="0"/>
              </a:rPr>
              <a:t> e </a:t>
            </a:r>
            <a:r>
              <a:rPr lang="en-US" sz="4100" b="1" dirty="0" err="1">
                <a:latin typeface="Calibri Light" panose="020F0302020204030204" pitchFamily="34" charset="0"/>
              </a:rPr>
              <a:t>Gamberi</a:t>
            </a:r>
            <a:r>
              <a:rPr lang="en-US" sz="4100" b="1" dirty="0">
                <a:latin typeface="Calibri Light" panose="020F0302020204030204" pitchFamily="34" charset="0"/>
              </a:rPr>
              <a:t> </a:t>
            </a:r>
            <a:r>
              <a:rPr lang="en-US" sz="4100" b="1" dirty="0" err="1">
                <a:latin typeface="Calibri Light" panose="020F0302020204030204" pitchFamily="34" charset="0"/>
              </a:rPr>
              <a:t>Grigliati</a:t>
            </a:r>
            <a:r>
              <a:rPr lang="en-US" sz="4100" b="1" dirty="0">
                <a:latin typeface="Calibri Light" panose="020F0302020204030204" pitchFamily="34" charset="0"/>
              </a:rPr>
              <a:t>, </a:t>
            </a:r>
            <a:r>
              <a:rPr lang="en-US" sz="4100" b="1" dirty="0" err="1">
                <a:latin typeface="Calibri Light" panose="020F0302020204030204" pitchFamily="34" charset="0"/>
              </a:rPr>
              <a:t>Marinata</a:t>
            </a:r>
            <a:r>
              <a:rPr lang="en-US" sz="4100" b="1" dirty="0">
                <a:latin typeface="Calibri Light" panose="020F0302020204030204" pitchFamily="34" charset="0"/>
              </a:rPr>
              <a:t> </a:t>
            </a:r>
            <a:r>
              <a:rPr lang="en-US" sz="4100" b="1" dirty="0" err="1">
                <a:latin typeface="Calibri Light" panose="020F0302020204030204" pitchFamily="34" charset="0"/>
              </a:rPr>
              <a:t>all'Aglio</a:t>
            </a:r>
            <a:r>
              <a:rPr lang="en-US" sz="4100" b="1" dirty="0">
                <a:latin typeface="Calibri Light" panose="020F0302020204030204" pitchFamily="34" charset="0"/>
              </a:rPr>
              <a:t> con </a:t>
            </a:r>
            <a:r>
              <a:rPr lang="en-US" sz="4100" b="1" dirty="0" smtClean="0">
                <a:latin typeface="Calibri Light" panose="020F0302020204030204" pitchFamily="34" charset="0"/>
              </a:rPr>
              <a:t>Verdure </a:t>
            </a:r>
            <a:r>
              <a:rPr lang="en-US" sz="4100" b="1" dirty="0" err="1" smtClean="0">
                <a:latin typeface="Calibri Light" panose="020F0302020204030204" pitchFamily="34" charset="0"/>
              </a:rPr>
              <a:t>Miste</a:t>
            </a:r>
            <a:r>
              <a:rPr lang="en-US" sz="4900" b="1" dirty="0">
                <a:latin typeface="Calibri Light" panose="020F0302020204030204" pitchFamily="34" charset="0"/>
              </a:rPr>
              <a:t/>
            </a:r>
            <a:br>
              <a:rPr lang="en-US" sz="4900" b="1" dirty="0">
                <a:latin typeface="Calibri Light" panose="020F0302020204030204" pitchFamily="34" charset="0"/>
              </a:rPr>
            </a:br>
            <a:r>
              <a:rPr lang="en-US" sz="3100" b="1" dirty="0">
                <a:latin typeface="Calibri Light" panose="020F0302020204030204" pitchFamily="34" charset="0"/>
              </a:rPr>
              <a:t>sautéed sea scallops and shrimp, garlic </a:t>
            </a:r>
            <a:r>
              <a:rPr lang="en-US" sz="3100" b="1" dirty="0" smtClean="0">
                <a:latin typeface="Calibri Light" panose="020F0302020204030204" pitchFamily="34" charset="0"/>
              </a:rPr>
              <a:t>marinade,</a:t>
            </a:r>
            <a:br>
              <a:rPr lang="en-US" sz="3100" b="1" dirty="0" smtClean="0">
                <a:latin typeface="Calibri Light" panose="020F0302020204030204" pitchFamily="34" charset="0"/>
              </a:rPr>
            </a:br>
            <a:r>
              <a:rPr lang="en-US" sz="3100" b="1" dirty="0" smtClean="0">
                <a:latin typeface="Calibri Light" panose="020F0302020204030204" pitchFamily="34" charset="0"/>
              </a:rPr>
              <a:t>mixed </a:t>
            </a:r>
            <a:r>
              <a:rPr lang="en-US" sz="3100" b="1" dirty="0">
                <a:latin typeface="Calibri Light" panose="020F0302020204030204" pitchFamily="34" charset="0"/>
              </a:rPr>
              <a:t>vegetables, crushed potato</a:t>
            </a:r>
            <a:endParaRPr lang="en-US" sz="3100" b="1" dirty="0">
              <a:latin typeface="Calibri Light" panose="020F030202020403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391134" y="1125077"/>
            <a:ext cx="2808341" cy="5474844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Flavor </a:t>
            </a:r>
            <a:r>
              <a:rPr lang="en-US" b="1" u="sng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callops and shrimp with parsley, olive oil and marjoram.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risp carrots, zucchini and leek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Mashed potatoes</a:t>
            </a:r>
          </a:p>
          <a:p>
            <a:pPr marL="162980" lvl="1" indent="-162980">
              <a:spcBef>
                <a:spcPts val="0"/>
              </a:spcBef>
            </a:pPr>
            <a:endParaRPr lang="en-US" sz="667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/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Menu Explanation</a:t>
            </a:r>
            <a:endParaRPr lang="en-US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162980" lvl="1" indent="-162980"/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autéed seafood flavored with fresh lemon, olive oil and herbs.</a:t>
            </a:r>
          </a:p>
          <a:p>
            <a:pPr marL="162980" lvl="1" indent="-162980"/>
            <a:endParaRPr lang="en-US" sz="1333" b="1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Terminology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162980" lvl="1" indent="-162980">
              <a:spcBef>
                <a:spcPts val="0"/>
              </a:spcBef>
            </a:pPr>
            <a:r>
              <a:rPr lang="en-US" sz="1333" u="sng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almoriglio Sauce </a:t>
            </a: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– made of lemon juice, olive oil, minced garlic, chopped oregano, bell peppers and parsley</a:t>
            </a:r>
          </a:p>
          <a:p>
            <a:pPr marL="162980" lvl="1" indent="-162980">
              <a:spcBef>
                <a:spcPts val="0"/>
              </a:spcBef>
            </a:pPr>
            <a:endParaRPr lang="en-US" sz="1333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spcBef>
                <a:spcPts val="0"/>
              </a:spcBef>
              <a:buNone/>
            </a:pPr>
            <a:r>
              <a:rPr lang="en-US" sz="1333" b="1" u="sng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llergens</a:t>
            </a:r>
            <a:endParaRPr lang="en-US" sz="1333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30712" indent="-224361" algn="l">
              <a:spcBef>
                <a:spcPts val="0"/>
              </a:spcBef>
            </a:pPr>
            <a:endParaRPr lang="en-US" sz="1200" dirty="0">
              <a:solidFill>
                <a:srgbClr val="20275B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478344"/>
            <a:ext cx="1453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  <a:latin typeface="Calibri" panose="020F0502020204030204" pitchFamily="34" charset="0"/>
              </a:rPr>
              <a:t>Italian Dinner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7112" y="4930774"/>
            <a:ext cx="631395" cy="66635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74484" y="4923159"/>
            <a:ext cx="620820" cy="67397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56" t="5900" r="9001" b="3748"/>
          <a:stretch/>
        </p:blipFill>
        <p:spPr>
          <a:xfrm>
            <a:off x="2691616" y="1615270"/>
            <a:ext cx="6168850" cy="4984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71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677"/>
            <a:ext cx="12192000" cy="101188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900" b="1" dirty="0" err="1">
                <a:latin typeface="Calibri Light" panose="020F0302020204030204" pitchFamily="34" charset="0"/>
              </a:rPr>
              <a:t>Scaloppine</a:t>
            </a:r>
            <a:r>
              <a:rPr lang="en-US" sz="4900" b="1" dirty="0">
                <a:latin typeface="Calibri Light" panose="020F0302020204030204" pitchFamily="34" charset="0"/>
              </a:rPr>
              <a:t> di </a:t>
            </a:r>
            <a:r>
              <a:rPr lang="en-US" sz="4900" b="1" dirty="0" err="1">
                <a:latin typeface="Calibri Light" panose="020F0302020204030204" pitchFamily="34" charset="0"/>
              </a:rPr>
              <a:t>Vitello</a:t>
            </a:r>
            <a:r>
              <a:rPr lang="en-US" sz="4900" b="1" dirty="0">
                <a:latin typeface="Calibri Light" panose="020F0302020204030204" pitchFamily="34" charset="0"/>
              </a:rPr>
              <a:t> al Marsala</a:t>
            </a:r>
            <a:br>
              <a:rPr lang="en-US" sz="4900" b="1" dirty="0">
                <a:latin typeface="Calibri Light" panose="020F0302020204030204" pitchFamily="34" charset="0"/>
              </a:rPr>
            </a:br>
            <a:r>
              <a:rPr lang="en-US" sz="3100" b="1" dirty="0">
                <a:latin typeface="Calibri Light" panose="020F0302020204030204" pitchFamily="34" charset="0"/>
              </a:rPr>
              <a:t>veal </a:t>
            </a:r>
            <a:r>
              <a:rPr lang="en-US" sz="3100" b="1" dirty="0" err="1">
                <a:latin typeface="Calibri Light" panose="020F0302020204030204" pitchFamily="34" charset="0"/>
              </a:rPr>
              <a:t>scallopini</a:t>
            </a:r>
            <a:r>
              <a:rPr lang="en-US" sz="3100" b="1" dirty="0">
                <a:latin typeface="Calibri Light" panose="020F0302020204030204" pitchFamily="34" charset="0"/>
              </a:rPr>
              <a:t>, marsala wine sauce, green beans, </a:t>
            </a:r>
            <a:r>
              <a:rPr lang="en-US" sz="3100" b="1" dirty="0" smtClean="0">
                <a:latin typeface="Calibri Light" panose="020F0302020204030204" pitchFamily="34" charset="0"/>
              </a:rPr>
              <a:t>tomatoes</a:t>
            </a:r>
            <a:r>
              <a:rPr lang="en-US" sz="3100" b="1" dirty="0">
                <a:latin typeface="Calibri Light" panose="020F0302020204030204" pitchFamily="34" charset="0"/>
              </a:rPr>
              <a:t>, creamy mashed potatoes</a:t>
            </a:r>
            <a:endParaRPr lang="en-US" sz="3100" b="1" dirty="0">
              <a:latin typeface="Calibri Light" panose="020F030202020403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220486" y="1028566"/>
            <a:ext cx="2986388" cy="5605266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b="1" u="sng" dirty="0" smtClean="0">
                <a:latin typeface="Calibri" panose="020F0502020204030204" pitchFamily="34" charset="0"/>
              </a:rPr>
              <a:t>Flavor </a:t>
            </a:r>
            <a:r>
              <a:rPr lang="en-US" b="1" u="sng" dirty="0">
                <a:latin typeface="Calibri" panose="020F0502020204030204" pitchFamily="34" charset="0"/>
              </a:rPr>
              <a:t>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Thinly sliced veal dredged in flour and cooked in butter.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reamy mashed potatoe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autéed green beans and roasted tomatoe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Rich buttery and lightly smoky flavored Marsala wine sauce.</a:t>
            </a:r>
            <a:endParaRPr lang="en-US" b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/>
            <a:endParaRPr lang="en-US" sz="267" b="1" dirty="0">
              <a:latin typeface="Calibri" panose="020F0502020204030204" pitchFamily="34" charset="0"/>
            </a:endParaRPr>
          </a:p>
          <a:p>
            <a:pPr algn="l"/>
            <a:r>
              <a:rPr lang="en-US" b="1" u="sng" dirty="0" smtClean="0">
                <a:latin typeface="Calibri" panose="020F0502020204030204" pitchFamily="34" charset="0"/>
              </a:rPr>
              <a:t>Menu Explanation</a:t>
            </a:r>
            <a:endParaRPr lang="en-US" b="1" u="sng" dirty="0">
              <a:latin typeface="Calibri" panose="020F0502020204030204" pitchFamily="34" charset="0"/>
            </a:endParaRPr>
          </a:p>
          <a:p>
            <a:pPr marL="162980" lvl="1" indent="-162980"/>
            <a:r>
              <a:rPr lang="en-US" sz="1333" dirty="0">
                <a:solidFill>
                  <a:srgbClr val="000000"/>
                </a:solidFill>
                <a:latin typeface="Calibri" panose="020F0502020204030204" pitchFamily="34" charset="0"/>
              </a:rPr>
              <a:t>Tender pan-fried veal served with a buttery smoky Marsala wine sauce</a:t>
            </a:r>
            <a:r>
              <a:rPr lang="en-US" sz="1333" dirty="0" smtClean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  <a:endParaRPr lang="en-US" sz="1333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62980" lvl="1" indent="-162980"/>
            <a:endParaRPr lang="en-US" sz="667" b="1" dirty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>
                <a:latin typeface="Calibri" panose="020F0502020204030204" pitchFamily="34" charset="0"/>
              </a:rPr>
              <a:t>Terminology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b="1" u="sng" dirty="0">
              <a:latin typeface="Calibri" panose="020F0502020204030204" pitchFamily="34" charset="0"/>
            </a:endParaRPr>
          </a:p>
          <a:p>
            <a:pPr marL="224361" indent="-224361" algn="l">
              <a:lnSpc>
                <a:spcPct val="110000"/>
              </a:lnSpc>
              <a:spcBef>
                <a:spcPts val="0"/>
              </a:spcBef>
            </a:pPr>
            <a:r>
              <a:rPr lang="en-US" sz="1200" u="sng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caloppini</a:t>
            </a: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- thin, boneless slices of meat, typically veal, sautéed or fried</a:t>
            </a:r>
          </a:p>
          <a:p>
            <a:pPr marL="224361" indent="-224361" algn="l">
              <a:lnSpc>
                <a:spcPct val="110000"/>
              </a:lnSpc>
              <a:spcBef>
                <a:spcPts val="0"/>
              </a:spcBef>
            </a:pPr>
            <a:r>
              <a:rPr lang="en-US" sz="1200" u="sng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Marsala</a:t>
            </a: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– a sweet Italian red wine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endParaRPr lang="en-US" sz="1200" u="sng" dirty="0">
              <a:solidFill>
                <a:srgbClr val="20275B"/>
              </a:solidFill>
              <a:latin typeface="Calibri" panose="020F0502020204030204" pitchFamily="34" charset="0"/>
            </a:endParaRPr>
          </a:p>
          <a:p>
            <a:pPr algn="l"/>
            <a:r>
              <a:rPr lang="en-US" b="1" u="sng" dirty="0" smtClean="0">
                <a:latin typeface="Calibri" panose="020F0502020204030204" pitchFamily="34" charset="0"/>
              </a:rPr>
              <a:t>Allergens</a:t>
            </a:r>
            <a:endParaRPr lang="en-US" b="1" u="sng" dirty="0">
              <a:latin typeface="Calibri" panose="020F0502020204030204" pitchFamily="34" charset="0"/>
            </a:endParaRPr>
          </a:p>
          <a:p>
            <a:endParaRPr lang="en-US" dirty="0">
              <a:solidFill>
                <a:srgbClr val="20275B"/>
              </a:solidFill>
            </a:endParaRPr>
          </a:p>
          <a:p>
            <a:pPr algn="l"/>
            <a:endParaRPr lang="en-US" dirty="0">
              <a:solidFill>
                <a:srgbClr val="20275B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478344"/>
            <a:ext cx="1496179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  <a:latin typeface="Calibri" panose="020F0502020204030204" pitchFamily="34" charset="0"/>
              </a:rPr>
              <a:t>Italian Dinner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13941" y="5295369"/>
            <a:ext cx="623712" cy="6674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27548" y="5295369"/>
            <a:ext cx="631395" cy="66635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659" y="1217747"/>
            <a:ext cx="7041489" cy="5069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410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676"/>
            <a:ext cx="12192000" cy="1111907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 err="1">
                <a:latin typeface="Calibri Light" panose="020F0302020204030204" pitchFamily="34" charset="0"/>
              </a:rPr>
              <a:t>Brasato</a:t>
            </a:r>
            <a:r>
              <a:rPr lang="en-US" sz="4400" b="1" dirty="0">
                <a:latin typeface="Calibri Light" panose="020F0302020204030204" pitchFamily="34" charset="0"/>
              </a:rPr>
              <a:t> di Manzo al Barolo                          </a:t>
            </a:r>
            <a:r>
              <a:rPr lang="en-US" sz="4400" b="1" dirty="0" smtClean="0">
                <a:latin typeface="Calibri Light" panose="020F0302020204030204" pitchFamily="34" charset="0"/>
              </a:rPr>
              <a:t>                            </a:t>
            </a:r>
            <a:r>
              <a:rPr lang="en-US" sz="2800" b="1" dirty="0" smtClean="0">
                <a:latin typeface="Calibri Light" panose="020F0302020204030204" pitchFamily="34" charset="0"/>
              </a:rPr>
              <a:t>beef </a:t>
            </a:r>
            <a:r>
              <a:rPr lang="en-US" sz="2800" b="1" dirty="0">
                <a:latin typeface="Calibri Light" panose="020F0302020204030204" pitchFamily="34" charset="0"/>
              </a:rPr>
              <a:t>pot roast, </a:t>
            </a:r>
            <a:r>
              <a:rPr lang="en-US" sz="2800" b="1" dirty="0" err="1">
                <a:latin typeface="Calibri Light" panose="020F0302020204030204" pitchFamily="34" charset="0"/>
              </a:rPr>
              <a:t>barolo</a:t>
            </a:r>
            <a:r>
              <a:rPr lang="en-US" sz="2800" b="1" dirty="0">
                <a:latin typeface="Calibri Light" panose="020F0302020204030204" pitchFamily="34" charset="0"/>
              </a:rPr>
              <a:t> wine, Tuscan vegetables, grilled polenta cakes</a:t>
            </a:r>
            <a:endParaRPr lang="en-US" sz="2800" b="1" dirty="0">
              <a:latin typeface="Calibri Light" panose="020F030202020403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495650" y="1171075"/>
            <a:ext cx="2516046" cy="5281511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endParaRPr lang="en-US" b="1" u="sng" dirty="0" smtClean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endParaRPr lang="en-US" b="1" u="sng" dirty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en-US" b="1" u="sng" dirty="0" smtClean="0">
                <a:latin typeface="Calibri" panose="020F0502020204030204" pitchFamily="34" charset="0"/>
              </a:rPr>
              <a:t>Flavor </a:t>
            </a:r>
            <a:r>
              <a:rPr lang="en-US" b="1" u="sng" dirty="0">
                <a:latin typeface="Calibri" panose="020F0502020204030204" pitchFamily="34" charset="0"/>
              </a:rPr>
              <a:t>Profile &amp; Texture</a:t>
            </a:r>
          </a:p>
          <a:p>
            <a:pPr algn="l"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</a:rPr>
              <a:t>Braised chuck roast</a:t>
            </a:r>
          </a:p>
          <a:p>
            <a:pPr algn="l"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</a:rPr>
              <a:t>Porcini mushrooms</a:t>
            </a:r>
          </a:p>
          <a:p>
            <a:pPr algn="l"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</a:rPr>
              <a:t>Red wine</a:t>
            </a:r>
          </a:p>
          <a:p>
            <a:pPr algn="l"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</a:rPr>
              <a:t>Crisp vegetables of green beans, carrots, turnips, mushrooms</a:t>
            </a:r>
          </a:p>
          <a:p>
            <a:pPr algn="l"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</a:rPr>
              <a:t>Grilled roasted garlic polenta cake</a:t>
            </a:r>
            <a:endParaRPr lang="en-US" dirty="0" smtClean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endParaRPr lang="en-US" b="1" u="sng" dirty="0" smtClean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en-US" b="1" u="sng" dirty="0" smtClean="0">
                <a:latin typeface="Calibri" panose="020F0502020204030204" pitchFamily="34" charset="0"/>
              </a:rPr>
              <a:t>Menu </a:t>
            </a:r>
            <a:r>
              <a:rPr lang="en-US" b="1" u="sng" dirty="0" smtClean="0">
                <a:latin typeface="Calibri" panose="020F0502020204030204" pitchFamily="34" charset="0"/>
              </a:rPr>
              <a:t>Explanation</a:t>
            </a:r>
            <a:endParaRPr lang="en-US" b="1" u="sng" dirty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dirty="0">
                <a:latin typeface="Calibri" panose="020F0502020204030204" pitchFamily="34" charset="0"/>
              </a:rPr>
              <a:t>Traditional Italian pot roast cooked in a rich red wine sauce served with vegetables and roasted garlic polenta </a:t>
            </a:r>
            <a:r>
              <a:rPr lang="en-US" dirty="0" smtClean="0">
                <a:latin typeface="Calibri" panose="020F0502020204030204" pitchFamily="34" charset="0"/>
              </a:rPr>
              <a:t>cakes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dirty="0" smtClean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>
                <a:latin typeface="Calibri" panose="020F0502020204030204" pitchFamily="34" charset="0"/>
              </a:rPr>
              <a:t>Terminology</a:t>
            </a:r>
            <a:endParaRPr lang="en-US" b="1" u="sng" dirty="0" smtClean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dirty="0">
                <a:latin typeface="Calibri" panose="020F0502020204030204" pitchFamily="34" charset="0"/>
              </a:rPr>
              <a:t>Barolo is a red wine produced in the Piedmont region of Italy</a:t>
            </a:r>
            <a:endParaRPr lang="en-US" dirty="0" smtClean="0">
              <a:latin typeface="Calibri" panose="020F0502020204030204" pitchFamily="34" charset="0"/>
            </a:endParaRPr>
          </a:p>
          <a:p>
            <a:pPr algn="l"/>
            <a:r>
              <a:rPr lang="en-US" b="1" u="sng" dirty="0" smtClean="0">
                <a:latin typeface="Calibri" panose="020F0502020204030204" pitchFamily="34" charset="0"/>
              </a:rPr>
              <a:t>Allergens</a:t>
            </a:r>
            <a:endParaRPr lang="en-US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478344"/>
            <a:ext cx="1453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  <a:latin typeface="Calibri" panose="020F0502020204030204" pitchFamily="34" charset="0"/>
              </a:rPr>
              <a:t>Italian Dinner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2503" y="1151617"/>
            <a:ext cx="6694224" cy="532672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75755" y="5545727"/>
            <a:ext cx="644800" cy="68050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13406" y="5558768"/>
            <a:ext cx="623712" cy="66746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58047" y="5565673"/>
            <a:ext cx="631395" cy="666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625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677"/>
            <a:ext cx="12192000" cy="101188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900" b="1" dirty="0">
                <a:latin typeface="Calibri Light" panose="020F0302020204030204" pitchFamily="34" charset="0"/>
              </a:rPr>
              <a:t/>
            </a:r>
            <a:br>
              <a:rPr lang="en-US" sz="4900" b="1" dirty="0">
                <a:latin typeface="Calibri Light" panose="020F0302020204030204" pitchFamily="34" charset="0"/>
              </a:rPr>
            </a:br>
            <a:r>
              <a:rPr lang="en-US" sz="4400" b="1" dirty="0" err="1">
                <a:latin typeface="Calibri Light" panose="020F0302020204030204" pitchFamily="34" charset="0"/>
              </a:rPr>
              <a:t>Petto</a:t>
            </a:r>
            <a:r>
              <a:rPr lang="en-US" sz="4400" b="1" dirty="0">
                <a:latin typeface="Calibri Light" panose="020F0302020204030204" pitchFamily="34" charset="0"/>
              </a:rPr>
              <a:t> di </a:t>
            </a:r>
            <a:r>
              <a:rPr lang="en-US" sz="4400" b="1" dirty="0" err="1">
                <a:latin typeface="Calibri Light" panose="020F0302020204030204" pitchFamily="34" charset="0"/>
              </a:rPr>
              <a:t>Pollo</a:t>
            </a:r>
            <a:r>
              <a:rPr lang="en-US" sz="4400" b="1" dirty="0">
                <a:latin typeface="Calibri Light" panose="020F0302020204030204" pitchFamily="34" charset="0"/>
              </a:rPr>
              <a:t> </a:t>
            </a:r>
            <a:r>
              <a:rPr lang="en-US" sz="4400" b="1" dirty="0" err="1">
                <a:latin typeface="Calibri Light" panose="020F0302020204030204" pitchFamily="34" charset="0"/>
              </a:rPr>
              <a:t>Ripieno</a:t>
            </a:r>
            <a:r>
              <a:rPr lang="en-US" sz="4400" b="1" dirty="0">
                <a:latin typeface="Calibri Light" panose="020F0302020204030204" pitchFamily="34" charset="0"/>
              </a:rPr>
              <a:t> con Crema di </a:t>
            </a:r>
            <a:r>
              <a:rPr lang="en-US" sz="4400" b="1" dirty="0" smtClean="0">
                <a:latin typeface="Calibri Light" panose="020F0302020204030204" pitchFamily="34" charset="0"/>
              </a:rPr>
              <a:t>Radicchio</a:t>
            </a:r>
            <a:r>
              <a:rPr lang="en-US" sz="2800" b="1" dirty="0" smtClean="0">
                <a:latin typeface="Calibri Light" panose="020F0302020204030204" pitchFamily="34" charset="0"/>
              </a:rPr>
              <a:t>                                                                                                          </a:t>
            </a:r>
            <a:r>
              <a:rPr lang="en-US" sz="2200" b="1" dirty="0" smtClean="0">
                <a:latin typeface="Calibri Light" panose="020F0302020204030204" pitchFamily="34" charset="0"/>
              </a:rPr>
              <a:t>breaded </a:t>
            </a:r>
            <a:r>
              <a:rPr lang="en-US" sz="2200" b="1" dirty="0">
                <a:latin typeface="Calibri Light" panose="020F0302020204030204" pitchFamily="34" charset="0"/>
              </a:rPr>
              <a:t>chicken breast stuffed with fontina cheese, spinach and mushrooms</a:t>
            </a:r>
            <a:br>
              <a:rPr lang="en-US" sz="2200" b="1" dirty="0">
                <a:latin typeface="Calibri Light" panose="020F0302020204030204" pitchFamily="34" charset="0"/>
              </a:rPr>
            </a:br>
            <a:r>
              <a:rPr lang="en-US" sz="2200" b="1" dirty="0">
                <a:latin typeface="Calibri Light" panose="020F0302020204030204" pitchFamily="34" charset="0"/>
              </a:rPr>
              <a:t>grilled asparagus, roasted potatoes, radicchio cream</a:t>
            </a:r>
            <a:endParaRPr lang="en-US" sz="2200" b="1" dirty="0">
              <a:latin typeface="Calibri Light" panose="020F030202020403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8885381" y="1276320"/>
            <a:ext cx="3306619" cy="5571356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en-US" b="1" u="sng" dirty="0" smtClean="0">
                <a:latin typeface="Calibri" panose="020F0502020204030204" pitchFamily="34" charset="0"/>
              </a:rPr>
              <a:t>Flavor </a:t>
            </a:r>
            <a:r>
              <a:rPr lang="en-US" b="1" u="sng" dirty="0">
                <a:latin typeface="Calibri" panose="020F0502020204030204" pitchFamily="34" charset="0"/>
              </a:rPr>
              <a:t>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Crispy breaded chicken breast stuffed with mushrooms, spinach, fontina and parmesan cheese and Marsala win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Roasted potato cubes roasted with garlic, olive oil and parsley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Lightly grilled asparagus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Prosecco radicchio cream</a:t>
            </a:r>
            <a:endParaRPr lang="en-US" sz="1200" dirty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endParaRPr lang="en-US" b="1" dirty="0" smtClean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en-US" b="1" u="sng" dirty="0" smtClean="0">
                <a:latin typeface="Calibri" panose="020F0502020204030204" pitchFamily="34" charset="0"/>
              </a:rPr>
              <a:t>Menu Explanation</a:t>
            </a:r>
            <a:endParaRPr lang="en-US" b="1" u="sng" dirty="0">
              <a:latin typeface="Calibri" panose="020F0502020204030204" pitchFamily="34" charset="0"/>
            </a:endParaRPr>
          </a:p>
          <a:p>
            <a:pPr marL="162980" lvl="1" indent="-162980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Fried in a mixture of butter and olive oil with a moist cheese and spinach filling with a touch of Marsala wine.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The prosecco radicchio cream brings a chicory (coffee) flavor.</a:t>
            </a:r>
            <a:endParaRPr lang="en-US" sz="1200" b="1" dirty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b="1" dirty="0" smtClean="0"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>
                <a:latin typeface="Calibri" panose="020F0502020204030204" pitchFamily="34" charset="0"/>
              </a:rPr>
              <a:t>Terminology</a:t>
            </a:r>
            <a:endParaRPr lang="en-US" b="1" u="sng" dirty="0" smtClean="0">
              <a:latin typeface="Calibri" panose="020F0502020204030204" pitchFamily="34" charset="0"/>
            </a:endParaRPr>
          </a:p>
          <a:p>
            <a:pPr algn="l"/>
            <a:r>
              <a:rPr lang="en-US" u="sng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Prosecco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– A sparkling Italian wine made from the </a:t>
            </a:r>
            <a:r>
              <a:rPr lang="en-US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Glera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Grape</a:t>
            </a:r>
            <a:endParaRPr lang="en-US" u="sng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/>
            <a:endParaRPr lang="en-US" b="1" u="sng" dirty="0" smtClean="0">
              <a:latin typeface="Calibri" panose="020F0502020204030204" pitchFamily="34" charset="0"/>
            </a:endParaRPr>
          </a:p>
          <a:p>
            <a:pPr algn="l"/>
            <a:r>
              <a:rPr lang="en-US" b="1" u="sng" dirty="0" smtClean="0">
                <a:latin typeface="Calibri" panose="020F0502020204030204" pitchFamily="34" charset="0"/>
              </a:rPr>
              <a:t>Allergens</a:t>
            </a:r>
            <a:endParaRPr lang="en-US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478344"/>
            <a:ext cx="1453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  <a:latin typeface="Calibri" panose="020F0502020204030204" pitchFamily="34" charset="0"/>
              </a:rPr>
              <a:t>Italian Dinner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14457" y="5545530"/>
            <a:ext cx="623712" cy="66746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96672" y="5545530"/>
            <a:ext cx="644800" cy="65386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00758" y="5545530"/>
            <a:ext cx="631395" cy="65386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05138" y="5545530"/>
            <a:ext cx="618549" cy="66635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7"/>
          <a:srcRect l="16130" t="14784" r="14879" b="8451"/>
          <a:stretch/>
        </p:blipFill>
        <p:spPr>
          <a:xfrm>
            <a:off x="2601533" y="1448653"/>
            <a:ext cx="6056317" cy="5139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38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677"/>
            <a:ext cx="12192000" cy="101188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900" b="1" dirty="0">
                <a:latin typeface="Calibri Light" panose="020F0302020204030204" pitchFamily="34" charset="0"/>
              </a:rPr>
              <a:t>(V) Cannellini Bean &amp; Vegetable Stew </a:t>
            </a:r>
            <a:r>
              <a:rPr lang="en-US" sz="4900" b="1" dirty="0" smtClean="0">
                <a:latin typeface="Calibri Light" panose="020F0302020204030204" pitchFamily="34" charset="0"/>
              </a:rPr>
              <a:t>                                </a:t>
            </a:r>
            <a:r>
              <a:rPr lang="en-US" sz="3100" b="1" dirty="0" smtClean="0">
                <a:latin typeface="Calibri Light" panose="020F0302020204030204" pitchFamily="34" charset="0"/>
              </a:rPr>
              <a:t>herb-scented </a:t>
            </a:r>
            <a:r>
              <a:rPr lang="en-US" sz="3100" b="1" dirty="0">
                <a:latin typeface="Calibri Light" panose="020F0302020204030204" pitchFamily="34" charset="0"/>
              </a:rPr>
              <a:t>polenta</a:t>
            </a:r>
            <a:endParaRPr lang="en-US" sz="3100" b="1" dirty="0">
              <a:latin typeface="Calibri Light" panose="020F030202020403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283444" y="1096739"/>
            <a:ext cx="2908556" cy="5609321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en-US" b="1" u="sng" dirty="0" smtClean="0">
                <a:latin typeface="Calibri" panose="020F0502020204030204" pitchFamily="34" charset="0"/>
              </a:rPr>
              <a:t>Flavor </a:t>
            </a:r>
            <a:r>
              <a:rPr lang="en-US" b="1" u="sng" dirty="0">
                <a:latin typeface="Calibri" panose="020F0502020204030204" pitchFamily="34" charset="0"/>
              </a:rPr>
              <a:t>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reamy herb polenta seasoned with fresh rosemary, thyme and tarragon is prepared with rich butter, parmesan cheese, vegetable stock and milk.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annellini bean stew and fresh vegetables 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Garnished with crispy fried kale</a:t>
            </a:r>
          </a:p>
          <a:p>
            <a:pPr algn="l">
              <a:spcBef>
                <a:spcPts val="0"/>
              </a:spcBef>
            </a:pPr>
            <a:endParaRPr lang="en-US" b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Menu Explanation</a:t>
            </a:r>
            <a:endParaRPr lang="en-US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reamy corn-meal porridge from Northern Italy served with savory beans and vegetable stew.</a:t>
            </a:r>
            <a:endParaRPr lang="en-US" sz="1333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b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Terminology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30712" indent="-224361" algn="l">
              <a:spcBef>
                <a:spcPts val="0"/>
              </a:spcBef>
            </a:pPr>
            <a:r>
              <a:rPr lang="en-US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Polenta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– </a:t>
            </a:r>
            <a:r>
              <a:rPr lang="en-US" dirty="0">
                <a:latin typeface="Calibri" panose="020F0502020204030204" pitchFamily="34" charset="0"/>
              </a:rPr>
              <a:t>a paste or dough made from cornmeal, which is </a:t>
            </a:r>
            <a:r>
              <a:rPr lang="en-US" dirty="0" smtClean="0">
                <a:latin typeface="Calibri" panose="020F0502020204030204" pitchFamily="34" charset="0"/>
              </a:rPr>
              <a:t>boiled</a:t>
            </a:r>
          </a:p>
          <a:p>
            <a:pPr marL="6351" algn="l">
              <a:spcBef>
                <a:spcPts val="0"/>
              </a:spcBef>
            </a:pPr>
            <a:endParaRPr lang="en-US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6351" algn="l">
              <a:spcBef>
                <a:spcPts val="0"/>
              </a:spcBef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llergens</a:t>
            </a:r>
          </a:p>
          <a:p>
            <a:pPr marL="6351" algn="l">
              <a:spcBef>
                <a:spcPts val="0"/>
              </a:spcBef>
            </a:pPr>
            <a:endParaRPr lang="en-US" b="1" u="sng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6351" algn="l">
              <a:spcBef>
                <a:spcPts val="0"/>
              </a:spcBef>
            </a:pP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       </a:t>
            </a:r>
            <a:endParaRPr lang="en-US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2581" y="1096739"/>
            <a:ext cx="6520863" cy="498182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2448" y="6478344"/>
            <a:ext cx="1453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  <a:latin typeface="Calibri" panose="020F0502020204030204" pitchFamily="34" charset="0"/>
              </a:rPr>
              <a:t>Italian Dinner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00004" y="5424694"/>
            <a:ext cx="631395" cy="65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02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868351"/>
            <a:ext cx="12192000" cy="2698633"/>
          </a:xfrm>
        </p:spPr>
        <p:txBody>
          <a:bodyPr>
            <a:normAutofit/>
          </a:bodyPr>
          <a:lstStyle/>
          <a:p>
            <a:pPr algn="ctr"/>
            <a:r>
              <a:rPr lang="en-US" sz="6000" u="sng" dirty="0">
                <a:latin typeface="Calibri" panose="020F0502020204030204" pitchFamily="34" charset="0"/>
              </a:rPr>
              <a:t>Dinner 1</a:t>
            </a:r>
            <a:endParaRPr lang="en-US" sz="6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712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23075"/>
          </a:xfrm>
        </p:spPr>
        <p:txBody>
          <a:bodyPr>
            <a:noAutofit/>
          </a:bodyPr>
          <a:lstStyle/>
          <a:p>
            <a:pPr algn="ctr"/>
            <a:r>
              <a:rPr lang="en-US" b="1" dirty="0"/>
              <a:t>Seared Basa Filet, Pineapple-Mango </a:t>
            </a:r>
            <a:r>
              <a:rPr lang="en-US" b="1" dirty="0" smtClean="0"/>
              <a:t>Pilaf</a:t>
            </a:r>
            <a:r>
              <a:rPr lang="en-US" b="1" dirty="0" smtClean="0"/>
              <a:t>*</a:t>
            </a:r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sz="3200" b="1" dirty="0" smtClean="0"/>
              <a:t>w/ Vegetable </a:t>
            </a:r>
            <a:r>
              <a:rPr lang="en-US" sz="3200" b="1" dirty="0"/>
              <a:t>Casserole, Basil-Infused Quino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522941" y="1117818"/>
            <a:ext cx="2641847" cy="5476846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</a:rPr>
              <a:t>Flavor </a:t>
            </a:r>
            <a:r>
              <a:rPr lang="en-US" b="1" u="sng" dirty="0">
                <a:solidFill>
                  <a:schemeClr val="tx1">
                    <a:lumMod val="50000"/>
                  </a:schemeClr>
                </a:solidFill>
              </a:rPr>
              <a:t>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</a:rPr>
              <a:t>Mild white fish topped with a tropical pineapple-mango 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</a:rPr>
              <a:t>Fresh basil pesto quinoa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</a:rPr>
              <a:t>Sweet chili sauc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</a:rPr>
              <a:t>Island vegetables </a:t>
            </a:r>
          </a:p>
          <a:p>
            <a:pPr marL="0" lvl="1" indent="0">
              <a:spcBef>
                <a:spcPts val="0"/>
              </a:spcBef>
              <a:buNone/>
            </a:pPr>
            <a:endParaRPr lang="en-US" sz="1333" b="1" dirty="0">
              <a:solidFill>
                <a:schemeClr val="tx1">
                  <a:lumMod val="50000"/>
                </a:schemeClr>
              </a:solidFill>
            </a:endParaRPr>
          </a:p>
          <a:p>
            <a:pPr marL="0" lvl="1" indent="0">
              <a:spcBef>
                <a:spcPts val="0"/>
              </a:spcBef>
              <a:buNone/>
            </a:pPr>
            <a:r>
              <a:rPr lang="en-US" sz="1333" b="1" u="sng" dirty="0">
                <a:solidFill>
                  <a:schemeClr val="tx1">
                    <a:lumMod val="50000"/>
                  </a:schemeClr>
                </a:solidFill>
              </a:rPr>
              <a:t>Menu Explanation</a:t>
            </a:r>
            <a:endParaRPr lang="en-US" sz="1333" u="sng" dirty="0">
              <a:solidFill>
                <a:schemeClr val="tx1">
                  <a:lumMod val="50000"/>
                </a:schemeClr>
              </a:solidFill>
            </a:endParaRP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</a:rPr>
              <a:t>Thai sweet chili sauce is made from fresh red chilies blended with garlic for a taste that adds sweet flavor not just spice.</a:t>
            </a:r>
          </a:p>
          <a:p>
            <a:pPr>
              <a:spcBef>
                <a:spcPts val="0"/>
              </a:spcBef>
            </a:pPr>
            <a:endParaRPr lang="en-US" b="1" dirty="0" smtClean="0">
              <a:solidFill>
                <a:schemeClr val="tx1">
                  <a:lumMod val="50000"/>
                </a:schemeClr>
              </a:solidFill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</a:rPr>
              <a:t>Terminology</a:t>
            </a:r>
            <a:endParaRPr lang="en-US" b="1" u="sng" dirty="0">
              <a:solidFill>
                <a:schemeClr val="tx1">
                  <a:lumMod val="50000"/>
                </a:schemeClr>
              </a:solidFill>
            </a:endParaRPr>
          </a:p>
          <a:p>
            <a:pPr marL="156629" indent="-150280" algn="l">
              <a:spcBef>
                <a:spcPts val="0"/>
              </a:spcBef>
            </a:pPr>
            <a:endParaRPr lang="en-US" dirty="0" smtClean="0">
              <a:solidFill>
                <a:schemeClr val="tx1">
                  <a:lumMod val="50000"/>
                </a:schemeClr>
              </a:solidFill>
            </a:endParaRPr>
          </a:p>
          <a:p>
            <a:pPr algn="l"/>
            <a:r>
              <a:rPr lang="en-US" u="sng" dirty="0" smtClean="0">
                <a:solidFill>
                  <a:schemeClr val="tx1">
                    <a:lumMod val="50000"/>
                  </a:schemeClr>
                </a:solidFill>
              </a:rPr>
              <a:t>Casserole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</a:rPr>
              <a:t> - a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kind of stew or side dish that is cooked slowly in an oven</a:t>
            </a:r>
          </a:p>
          <a:p>
            <a:pPr marL="6349" algn="l">
              <a:spcBef>
                <a:spcPts val="0"/>
              </a:spcBef>
            </a:pPr>
            <a:r>
              <a:rPr lang="en-US" dirty="0" smtClean="0">
                <a:solidFill>
                  <a:schemeClr val="tx1">
                    <a:lumMod val="50000"/>
                  </a:schemeClr>
                </a:solidFill>
              </a:rPr>
              <a:t> </a:t>
            </a:r>
          </a:p>
          <a:p>
            <a:pPr marL="6349" algn="l">
              <a:spcBef>
                <a:spcPts val="0"/>
              </a:spcBef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</a:rPr>
              <a:t>Allergens</a:t>
            </a:r>
            <a:endParaRPr lang="en-US" u="sng" dirty="0" smtClean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478344"/>
            <a:ext cx="1156309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</a:rPr>
              <a:t>Dinner 1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l="14319" t="5728" r="17859" b="16099"/>
          <a:stretch/>
        </p:blipFill>
        <p:spPr>
          <a:xfrm>
            <a:off x="2513163" y="1117818"/>
            <a:ext cx="7009778" cy="498748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95464" y="5038318"/>
            <a:ext cx="607089" cy="64749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27723" y="5038318"/>
            <a:ext cx="616141" cy="65026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69161" y="5035557"/>
            <a:ext cx="565283" cy="650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14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07814"/>
          </a:xfrm>
        </p:spPr>
        <p:txBody>
          <a:bodyPr>
            <a:noAutofit/>
          </a:bodyPr>
          <a:lstStyle/>
          <a:p>
            <a:pPr algn="ctr"/>
            <a:r>
              <a:rPr lang="en-US" b="1" dirty="0"/>
              <a:t>Steamed Mussels </a:t>
            </a:r>
            <a:r>
              <a:rPr lang="en-US" b="1" dirty="0" smtClean="0"/>
              <a:t>with </a:t>
            </a:r>
            <a:r>
              <a:rPr lang="en-US" b="1" dirty="0"/>
              <a:t>Chorizo </a:t>
            </a:r>
            <a:r>
              <a:rPr lang="en-US" b="1" dirty="0" smtClean="0"/>
              <a:t>and</a:t>
            </a:r>
            <a:r>
              <a:rPr lang="en-US" b="1" dirty="0" smtClean="0"/>
              <a:t> </a:t>
            </a:r>
            <a:r>
              <a:rPr lang="en-US" b="1" dirty="0"/>
              <a:t>White </a:t>
            </a:r>
            <a:r>
              <a:rPr lang="en-US" b="1" dirty="0" smtClean="0"/>
              <a:t>Wine</a:t>
            </a:r>
            <a:br>
              <a:rPr lang="en-US" b="1" dirty="0" smtClean="0"/>
            </a:br>
            <a:r>
              <a:rPr lang="en-US" sz="3200" b="1" dirty="0" smtClean="0"/>
              <a:t> </a:t>
            </a:r>
            <a:r>
              <a:rPr lang="en-US" sz="3200" b="1" dirty="0" smtClean="0"/>
              <a:t>Toasted </a:t>
            </a:r>
            <a:r>
              <a:rPr lang="en-US" sz="3200" b="1" dirty="0" smtClean="0"/>
              <a:t>Baguette, Cilantro, Steak Fries</a:t>
            </a:r>
            <a:endParaRPr lang="en-US" b="1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671222" y="937116"/>
            <a:ext cx="2520778" cy="6143160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sz="1500" b="1" dirty="0"/>
              <a:t>By Curtis Stone</a:t>
            </a:r>
          </a:p>
          <a:p>
            <a:endParaRPr lang="en-US" sz="133" dirty="0"/>
          </a:p>
          <a:p>
            <a:pPr algn="l"/>
            <a:r>
              <a:rPr lang="en-US" sz="1867" b="1" u="sng" dirty="0"/>
              <a:t>Flavor Profile &amp; Texture</a:t>
            </a:r>
          </a:p>
          <a:p>
            <a:pPr lvl="1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Black mussels </a:t>
            </a:r>
          </a:p>
          <a:p>
            <a:pPr lvl="1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Spicy  Mexican sausage seasoned broth with smoked paprika, shallots, butter and white wine</a:t>
            </a:r>
          </a:p>
          <a:p>
            <a:pPr lvl="1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Toasted baguette slices</a:t>
            </a:r>
          </a:p>
          <a:p>
            <a:pPr lvl="1"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Cilantro garnish</a:t>
            </a:r>
          </a:p>
          <a:p>
            <a:pPr algn="l"/>
            <a:r>
              <a:rPr lang="en-US" sz="1867" b="1" u="sng" dirty="0"/>
              <a:t>Menu Explanation</a:t>
            </a:r>
          </a:p>
          <a:p>
            <a:pPr lvl="1"/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A flavorful mussel appetizer by Curtis Stone crafted full of flavor.</a:t>
            </a:r>
            <a:endParaRPr lang="en-US" sz="1200" b="1" u="sng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l">
              <a:spcBef>
                <a:spcPts val="0"/>
              </a:spcBef>
            </a:pPr>
            <a:endParaRPr lang="en-US" sz="667" b="1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sz="1867" b="1" u="sng" dirty="0"/>
              <a:t>Allergens</a:t>
            </a:r>
            <a:endParaRPr lang="en-US" sz="1400" b="1" u="sng" dirty="0"/>
          </a:p>
        </p:txBody>
      </p:sp>
      <p:sp>
        <p:nvSpPr>
          <p:cNvPr id="5" name="TextBox 4"/>
          <p:cNvSpPr txBox="1"/>
          <p:nvPr/>
        </p:nvSpPr>
        <p:spPr>
          <a:xfrm>
            <a:off x="0" y="6478344"/>
            <a:ext cx="101502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AF"/>
                </a:solidFill>
              </a:rPr>
              <a:t>Dinner 1</a:t>
            </a:r>
            <a:endParaRPr lang="en-US" dirty="0">
              <a:solidFill>
                <a:srgbClr val="0070A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45823" y="4784206"/>
            <a:ext cx="631395" cy="66635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53506" y="4077772"/>
            <a:ext cx="623712" cy="66746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59502" y="4077772"/>
            <a:ext cx="618549" cy="66635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60335" y="4070157"/>
            <a:ext cx="620820" cy="67397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8" r="11610" b="2865"/>
          <a:stretch/>
        </p:blipFill>
        <p:spPr>
          <a:xfrm>
            <a:off x="2973859" y="1007814"/>
            <a:ext cx="6615079" cy="5537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450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449149"/>
            <a:ext cx="12192000" cy="2323782"/>
          </a:xfrm>
        </p:spPr>
        <p:txBody>
          <a:bodyPr>
            <a:normAutofit/>
          </a:bodyPr>
          <a:lstStyle/>
          <a:p>
            <a:pPr algn="ctr"/>
            <a:r>
              <a:rPr lang="en-US" sz="6000" u="sng" dirty="0" smtClean="0">
                <a:latin typeface="Calibri" panose="020F0502020204030204" pitchFamily="34" charset="0"/>
              </a:rPr>
              <a:t>Captain’s Welcome</a:t>
            </a:r>
            <a:endParaRPr lang="en-US" sz="6000" u="sng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681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677"/>
            <a:ext cx="12191999" cy="1011888"/>
          </a:xfrm>
        </p:spPr>
        <p:txBody>
          <a:bodyPr>
            <a:noAutofit/>
          </a:bodyPr>
          <a:lstStyle/>
          <a:p>
            <a:pPr algn="ctr"/>
            <a:r>
              <a:rPr lang="en-US" b="1" dirty="0"/>
              <a:t>White Rum Tapioca Fruit Salad</a:t>
            </a:r>
            <a:br>
              <a:rPr lang="en-US" b="1" dirty="0"/>
            </a:br>
            <a:r>
              <a:rPr lang="en-US" sz="3200" b="1" dirty="0" smtClean="0"/>
              <a:t>Orange</a:t>
            </a:r>
            <a:r>
              <a:rPr lang="en-US" sz="3200" b="1" dirty="0"/>
              <a:t>, pineapple, mango, </a:t>
            </a:r>
            <a:r>
              <a:rPr lang="en-US" sz="3200" b="1" dirty="0" smtClean="0"/>
              <a:t>melon, strawberry</a:t>
            </a:r>
            <a:r>
              <a:rPr lang="en-US" sz="3200" b="1" dirty="0"/>
              <a:t>, toasted coconu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706458" y="1086334"/>
            <a:ext cx="2445966" cy="5398346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sz="1330" b="1" u="sng" dirty="0"/>
              <a:t>Flavor 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0" dirty="0">
                <a:solidFill>
                  <a:srgbClr val="000000"/>
                </a:solidFill>
              </a:rPr>
              <a:t>Fresh Mango, Pineapple, Orange, Kiwi, Passion Fruit, Orange, </a:t>
            </a:r>
            <a:r>
              <a:rPr lang="en-US" sz="1330" dirty="0" smtClean="0">
                <a:solidFill>
                  <a:srgbClr val="000000"/>
                </a:solidFill>
              </a:rPr>
              <a:t>melon, </a:t>
            </a:r>
            <a:r>
              <a:rPr lang="en-US" sz="1330" dirty="0">
                <a:solidFill>
                  <a:srgbClr val="000000"/>
                </a:solidFill>
              </a:rPr>
              <a:t>Pineapple and Lime juices.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0" dirty="0">
                <a:solidFill>
                  <a:srgbClr val="000000"/>
                </a:solidFill>
              </a:rPr>
              <a:t>Topped with a creamy vanilla-cinnamon tapioca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0" dirty="0">
                <a:solidFill>
                  <a:srgbClr val="000000"/>
                </a:solidFill>
              </a:rPr>
              <a:t>Garnished with white rum, fresh mint toasted coconut and sliced strawberries.</a:t>
            </a:r>
            <a:endParaRPr lang="en-US" sz="1330" dirty="0"/>
          </a:p>
          <a:p>
            <a:pPr algn="l"/>
            <a:endParaRPr lang="en-US" sz="1330" b="1" dirty="0"/>
          </a:p>
          <a:p>
            <a:pPr algn="l"/>
            <a:r>
              <a:rPr lang="en-US" sz="1330" b="1" u="sng" dirty="0"/>
              <a:t>Menu Explanation</a:t>
            </a:r>
          </a:p>
          <a:p>
            <a:pPr marL="135463" lvl="1" indent="-135463"/>
            <a:r>
              <a:rPr lang="en-US" sz="1330" dirty="0">
                <a:solidFill>
                  <a:srgbClr val="000000"/>
                </a:solidFill>
              </a:rPr>
              <a:t>A fresh tropical twist of a classic ambrosia salad</a:t>
            </a:r>
            <a:endParaRPr lang="en-US" sz="1330" b="1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1330" b="1" dirty="0"/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sz="1330" b="1" u="sng" dirty="0"/>
              <a:t>Terminology</a:t>
            </a: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sz="1330" b="1" u="sng" dirty="0"/>
          </a:p>
          <a:p>
            <a:pPr marL="150280" indent="-150280" algn="l">
              <a:spcBef>
                <a:spcPts val="0"/>
              </a:spcBef>
            </a:pPr>
            <a:r>
              <a:rPr lang="en-US" sz="1330" u="sng" dirty="0" smtClean="0"/>
              <a:t>Tapioca</a:t>
            </a:r>
            <a:r>
              <a:rPr lang="en-US" sz="1330" dirty="0" smtClean="0"/>
              <a:t> - </a:t>
            </a:r>
            <a:r>
              <a:rPr lang="en-US" sz="1330" dirty="0"/>
              <a:t>a starch extracted from cassava </a:t>
            </a:r>
            <a:r>
              <a:rPr lang="en-US" sz="1330" dirty="0" smtClean="0"/>
              <a:t>root</a:t>
            </a:r>
          </a:p>
          <a:p>
            <a:pPr marL="150280" indent="-150280" algn="l">
              <a:spcBef>
                <a:spcPts val="0"/>
              </a:spcBef>
            </a:pPr>
            <a:endParaRPr lang="en-US" sz="1330" u="sng" dirty="0"/>
          </a:p>
          <a:p>
            <a:pPr algn="l">
              <a:spcBef>
                <a:spcPts val="0"/>
              </a:spcBef>
            </a:pPr>
            <a:r>
              <a:rPr lang="en-US" sz="1330" b="1" u="sng" dirty="0" smtClean="0"/>
              <a:t>Allergens</a:t>
            </a:r>
            <a:endParaRPr lang="en-US" sz="1330" b="1" u="sng" dirty="0"/>
          </a:p>
          <a:p>
            <a:pPr>
              <a:spcBef>
                <a:spcPts val="0"/>
              </a:spcBef>
            </a:pPr>
            <a:endParaRPr lang="en-US" u="sng" dirty="0"/>
          </a:p>
        </p:txBody>
      </p:sp>
      <p:sp>
        <p:nvSpPr>
          <p:cNvPr id="5" name="TextBox 4"/>
          <p:cNvSpPr txBox="1"/>
          <p:nvPr/>
        </p:nvSpPr>
        <p:spPr>
          <a:xfrm>
            <a:off x="34727" y="6478344"/>
            <a:ext cx="202921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</a:rPr>
              <a:t>Captain’s Welco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89274" y="5330049"/>
            <a:ext cx="652483" cy="66635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89" t="11389" r="19353" b="8195"/>
          <a:stretch/>
        </p:blipFill>
        <p:spPr>
          <a:xfrm>
            <a:off x="2480693" y="1086334"/>
            <a:ext cx="7225765" cy="539834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24573" y="5330048"/>
            <a:ext cx="616141" cy="666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065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677"/>
            <a:ext cx="12192000" cy="1011888"/>
          </a:xfrm>
        </p:spPr>
        <p:txBody>
          <a:bodyPr>
            <a:noAutofit/>
          </a:bodyPr>
          <a:lstStyle/>
          <a:p>
            <a:pPr algn="ctr"/>
            <a:r>
              <a:rPr lang="en-US" b="1" dirty="0"/>
              <a:t>Chilled Sweet </a:t>
            </a:r>
            <a:r>
              <a:rPr lang="en-US" b="1" dirty="0" smtClean="0"/>
              <a:t>Pea Soup</a:t>
            </a:r>
            <a:r>
              <a:rPr lang="en-US" b="1" dirty="0"/>
              <a:t/>
            </a:r>
            <a:br>
              <a:rPr lang="en-US" b="1" dirty="0"/>
            </a:br>
            <a:r>
              <a:rPr lang="en-US" sz="3200" b="1" dirty="0" smtClean="0"/>
              <a:t>Fresh Tomato, </a:t>
            </a:r>
            <a:r>
              <a:rPr lang="en-US" sz="3200" b="1" dirty="0"/>
              <a:t>Mini Cheese Bacon Biscui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9484491" y="1028565"/>
            <a:ext cx="2704704" cy="5571356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</a:rPr>
              <a:t>Flavor </a:t>
            </a:r>
            <a:r>
              <a:rPr lang="en-US" b="1" u="sng" dirty="0">
                <a:solidFill>
                  <a:schemeClr val="tx1">
                    <a:lumMod val="50000"/>
                  </a:schemeClr>
                </a:solidFill>
              </a:rPr>
              <a:t>Profile &amp; Texture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</a:rPr>
              <a:t>A creamy chilled soup of sweet peas, potatoes, leeks, onions, basil and mint.</a:t>
            </a: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</a:rPr>
              <a:t>Garnished with mini cheese bacon biscuits.</a:t>
            </a:r>
          </a:p>
          <a:p>
            <a:pPr algn="l">
              <a:spcBef>
                <a:spcPts val="0"/>
              </a:spcBef>
            </a:pPr>
            <a:endParaRPr lang="en-US" b="1" dirty="0" smtClean="0">
              <a:solidFill>
                <a:schemeClr val="tx1">
                  <a:lumMod val="50000"/>
                </a:schemeClr>
              </a:solidFill>
            </a:endParaRPr>
          </a:p>
          <a:p>
            <a:pPr algn="l">
              <a:spcBef>
                <a:spcPts val="0"/>
              </a:spcBef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</a:rPr>
              <a:t>Menu Explanation</a:t>
            </a:r>
            <a:endParaRPr lang="en-US" b="1" u="sng" dirty="0">
              <a:solidFill>
                <a:schemeClr val="tx1">
                  <a:lumMod val="50000"/>
                </a:schemeClr>
              </a:solidFill>
            </a:endParaRPr>
          </a:p>
          <a:p>
            <a:pPr marL="162980" lvl="1" indent="-162980">
              <a:spcBef>
                <a:spcPts val="0"/>
              </a:spcBef>
            </a:pPr>
            <a:r>
              <a:rPr lang="en-US" sz="1333" dirty="0">
                <a:solidFill>
                  <a:schemeClr val="tx1">
                    <a:lumMod val="50000"/>
                  </a:schemeClr>
                </a:solidFill>
              </a:rPr>
              <a:t>With a surprise layer of sweet pea hummus, every bite gets that fresh taste of sweet peas and</a:t>
            </a:r>
            <a:endParaRPr lang="en-US" sz="1333" b="1" dirty="0">
              <a:solidFill>
                <a:schemeClr val="tx1">
                  <a:lumMod val="50000"/>
                </a:schemeClr>
              </a:solidFill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endParaRPr lang="en-US" b="1" dirty="0" smtClean="0">
              <a:solidFill>
                <a:schemeClr val="tx1">
                  <a:lumMod val="50000"/>
                </a:schemeClr>
              </a:solidFill>
            </a:endParaRPr>
          </a:p>
          <a:p>
            <a:pPr algn="l">
              <a:spcBef>
                <a:spcPts val="0"/>
              </a:spcBef>
              <a:buClr>
                <a:srgbClr val="747D98"/>
              </a:buClr>
            </a:pPr>
            <a:r>
              <a:rPr lang="en-US" b="1" u="sng" dirty="0" smtClean="0">
                <a:solidFill>
                  <a:schemeClr val="tx1">
                    <a:lumMod val="50000"/>
                  </a:schemeClr>
                </a:solidFill>
              </a:rPr>
              <a:t>Allergens</a:t>
            </a:r>
            <a:endParaRPr lang="en-US" b="1" u="sng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8877" t="1" r="11972" b="17021"/>
          <a:stretch/>
        </p:blipFill>
        <p:spPr>
          <a:xfrm>
            <a:off x="2707509" y="1028565"/>
            <a:ext cx="6776982" cy="541532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2243" y="6410093"/>
            <a:ext cx="202921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70AF"/>
                </a:solidFill>
              </a:rPr>
              <a:t>Captain’s Welcom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09927" y="3572787"/>
            <a:ext cx="631395" cy="6805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92763" y="3572787"/>
            <a:ext cx="623712" cy="68050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35353" y="3572791"/>
            <a:ext cx="623712" cy="680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618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lan 2016 rev June">
  <a:themeElements>
    <a:clrScheme name="Custom 4">
      <a:dk1>
        <a:srgbClr val="5F5F5F"/>
      </a:dk1>
      <a:lt1>
        <a:sysClr val="window" lastClr="FFFFFF"/>
      </a:lt1>
      <a:dk2>
        <a:srgbClr val="7F7F7F"/>
      </a:dk2>
      <a:lt2>
        <a:srgbClr val="ECEDD1"/>
      </a:lt2>
      <a:accent1>
        <a:srgbClr val="747D98"/>
      </a:accent1>
      <a:accent2>
        <a:srgbClr val="CF543F"/>
      </a:accent2>
      <a:accent3>
        <a:srgbClr val="9DA03F"/>
      </a:accent3>
      <a:accent4>
        <a:srgbClr val="DD8047"/>
      </a:accent4>
      <a:accent5>
        <a:srgbClr val="E8B54D"/>
      </a:accent5>
      <a:accent6>
        <a:srgbClr val="A58AB4"/>
      </a:accent6>
      <a:hlink>
        <a:srgbClr val="747D98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Plan 2016 rev June">
  <a:themeElements>
    <a:clrScheme name="Custom 4">
      <a:dk1>
        <a:srgbClr val="5F5F5F"/>
      </a:dk1>
      <a:lt1>
        <a:sysClr val="window" lastClr="FFFFFF"/>
      </a:lt1>
      <a:dk2>
        <a:srgbClr val="7F7F7F"/>
      </a:dk2>
      <a:lt2>
        <a:srgbClr val="ECEDD1"/>
      </a:lt2>
      <a:accent1>
        <a:srgbClr val="747D98"/>
      </a:accent1>
      <a:accent2>
        <a:srgbClr val="CF543F"/>
      </a:accent2>
      <a:accent3>
        <a:srgbClr val="9DA03F"/>
      </a:accent3>
      <a:accent4>
        <a:srgbClr val="DD8047"/>
      </a:accent4>
      <a:accent5>
        <a:srgbClr val="E8B54D"/>
      </a:accent5>
      <a:accent6>
        <a:srgbClr val="A58AB4"/>
      </a:accent6>
      <a:hlink>
        <a:srgbClr val="747D98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Plan 2016 rev June">
  <a:themeElements>
    <a:clrScheme name="Custom 4">
      <a:dk1>
        <a:srgbClr val="5F5F5F"/>
      </a:dk1>
      <a:lt1>
        <a:sysClr val="window" lastClr="FFFFFF"/>
      </a:lt1>
      <a:dk2>
        <a:srgbClr val="7F7F7F"/>
      </a:dk2>
      <a:lt2>
        <a:srgbClr val="ECEDD1"/>
      </a:lt2>
      <a:accent1>
        <a:srgbClr val="747D98"/>
      </a:accent1>
      <a:accent2>
        <a:srgbClr val="CF543F"/>
      </a:accent2>
      <a:accent3>
        <a:srgbClr val="9DA03F"/>
      </a:accent3>
      <a:accent4>
        <a:srgbClr val="DD8047"/>
      </a:accent4>
      <a:accent5>
        <a:srgbClr val="E8B54D"/>
      </a:accent5>
      <a:accent6>
        <a:srgbClr val="A58AB4"/>
      </a:accent6>
      <a:hlink>
        <a:srgbClr val="747D98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Plan 2016 rev June">
  <a:themeElements>
    <a:clrScheme name="Custom 4">
      <a:dk1>
        <a:srgbClr val="5F5F5F"/>
      </a:dk1>
      <a:lt1>
        <a:sysClr val="window" lastClr="FFFFFF"/>
      </a:lt1>
      <a:dk2>
        <a:srgbClr val="7F7F7F"/>
      </a:dk2>
      <a:lt2>
        <a:srgbClr val="ECEDD1"/>
      </a:lt2>
      <a:accent1>
        <a:srgbClr val="747D98"/>
      </a:accent1>
      <a:accent2>
        <a:srgbClr val="CF543F"/>
      </a:accent2>
      <a:accent3>
        <a:srgbClr val="9DA03F"/>
      </a:accent3>
      <a:accent4>
        <a:srgbClr val="DD8047"/>
      </a:accent4>
      <a:accent5>
        <a:srgbClr val="E8B54D"/>
      </a:accent5>
      <a:accent6>
        <a:srgbClr val="A58AB4"/>
      </a:accent6>
      <a:hlink>
        <a:srgbClr val="747D98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Plan 2016 rev June">
  <a:themeElements>
    <a:clrScheme name="Custom 4">
      <a:dk1>
        <a:srgbClr val="5F5F5F"/>
      </a:dk1>
      <a:lt1>
        <a:sysClr val="window" lastClr="FFFFFF"/>
      </a:lt1>
      <a:dk2>
        <a:srgbClr val="7F7F7F"/>
      </a:dk2>
      <a:lt2>
        <a:srgbClr val="ECEDD1"/>
      </a:lt2>
      <a:accent1>
        <a:srgbClr val="747D98"/>
      </a:accent1>
      <a:accent2>
        <a:srgbClr val="CF543F"/>
      </a:accent2>
      <a:accent3>
        <a:srgbClr val="9DA03F"/>
      </a:accent3>
      <a:accent4>
        <a:srgbClr val="DD8047"/>
      </a:accent4>
      <a:accent5>
        <a:srgbClr val="E8B54D"/>
      </a:accent5>
      <a:accent6>
        <a:srgbClr val="A58AB4"/>
      </a:accent6>
      <a:hlink>
        <a:srgbClr val="747D98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Plan 2016 rev June">
  <a:themeElements>
    <a:clrScheme name="Custom 4">
      <a:dk1>
        <a:srgbClr val="5F5F5F"/>
      </a:dk1>
      <a:lt1>
        <a:sysClr val="window" lastClr="FFFFFF"/>
      </a:lt1>
      <a:dk2>
        <a:srgbClr val="7F7F7F"/>
      </a:dk2>
      <a:lt2>
        <a:srgbClr val="ECEDD1"/>
      </a:lt2>
      <a:accent1>
        <a:srgbClr val="747D98"/>
      </a:accent1>
      <a:accent2>
        <a:srgbClr val="CF543F"/>
      </a:accent2>
      <a:accent3>
        <a:srgbClr val="9DA03F"/>
      </a:accent3>
      <a:accent4>
        <a:srgbClr val="DD8047"/>
      </a:accent4>
      <a:accent5>
        <a:srgbClr val="E8B54D"/>
      </a:accent5>
      <a:accent6>
        <a:srgbClr val="A58AB4"/>
      </a:accent6>
      <a:hlink>
        <a:srgbClr val="747D98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6_Plan 2016 rev June">
  <a:themeElements>
    <a:clrScheme name="Custom 4">
      <a:dk1>
        <a:srgbClr val="5F5F5F"/>
      </a:dk1>
      <a:lt1>
        <a:sysClr val="window" lastClr="FFFFFF"/>
      </a:lt1>
      <a:dk2>
        <a:srgbClr val="7F7F7F"/>
      </a:dk2>
      <a:lt2>
        <a:srgbClr val="ECEDD1"/>
      </a:lt2>
      <a:accent1>
        <a:srgbClr val="747D98"/>
      </a:accent1>
      <a:accent2>
        <a:srgbClr val="CF543F"/>
      </a:accent2>
      <a:accent3>
        <a:srgbClr val="9DA03F"/>
      </a:accent3>
      <a:accent4>
        <a:srgbClr val="DD8047"/>
      </a:accent4>
      <a:accent5>
        <a:srgbClr val="E8B54D"/>
      </a:accent5>
      <a:accent6>
        <a:srgbClr val="A58AB4"/>
      </a:accent6>
      <a:hlink>
        <a:srgbClr val="747D98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7_Plan 2016 rev June">
  <a:themeElements>
    <a:clrScheme name="Custom 4">
      <a:dk1>
        <a:srgbClr val="5F5F5F"/>
      </a:dk1>
      <a:lt1>
        <a:sysClr val="window" lastClr="FFFFFF"/>
      </a:lt1>
      <a:dk2>
        <a:srgbClr val="7F7F7F"/>
      </a:dk2>
      <a:lt2>
        <a:srgbClr val="ECEDD1"/>
      </a:lt2>
      <a:accent1>
        <a:srgbClr val="747D98"/>
      </a:accent1>
      <a:accent2>
        <a:srgbClr val="CF543F"/>
      </a:accent2>
      <a:accent3>
        <a:srgbClr val="9DA03F"/>
      </a:accent3>
      <a:accent4>
        <a:srgbClr val="DD8047"/>
      </a:accent4>
      <a:accent5>
        <a:srgbClr val="E8B54D"/>
      </a:accent5>
      <a:accent6>
        <a:srgbClr val="A58AB4"/>
      </a:accent6>
      <a:hlink>
        <a:srgbClr val="747D98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003</TotalTime>
  <Words>2725</Words>
  <Application>Microsoft Office PowerPoint</Application>
  <PresentationFormat>Widescreen</PresentationFormat>
  <Paragraphs>575</Paragraphs>
  <Slides>39</Slides>
  <Notes>3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55" baseType="lpstr">
      <vt:lpstr>Arial</vt:lpstr>
      <vt:lpstr>BrowalliaUPC</vt:lpstr>
      <vt:lpstr>Calibri</vt:lpstr>
      <vt:lpstr>Calibri Light</vt:lpstr>
      <vt:lpstr>Chalet EnglishChannel</vt:lpstr>
      <vt:lpstr>Courier New</vt:lpstr>
      <vt:lpstr>Office Theme</vt:lpstr>
      <vt:lpstr>Plan 2016 rev June</vt:lpstr>
      <vt:lpstr>1_Plan 2016 rev June</vt:lpstr>
      <vt:lpstr>2_Plan 2016 rev June</vt:lpstr>
      <vt:lpstr>3_Plan 2016 rev June</vt:lpstr>
      <vt:lpstr>4_Plan 2016 rev June</vt:lpstr>
      <vt:lpstr>5_Plan 2016 rev June</vt:lpstr>
      <vt:lpstr>6_Plan 2016 rev June</vt:lpstr>
      <vt:lpstr>7_Plan 2016 rev June</vt:lpstr>
      <vt:lpstr>think-cell Slide</vt:lpstr>
      <vt:lpstr>Main Dining Room                                 Top 10 2.0 plus Italian                     Menu Item Descriptions</vt:lpstr>
      <vt:lpstr>Princess Favorites:  </vt:lpstr>
      <vt:lpstr>Baked Potato Soup (v) w/ Roasted Corn Relish &amp; Aged Cheddar</vt:lpstr>
      <vt:lpstr>Dinner 1</vt:lpstr>
      <vt:lpstr>Seared Basa Filet, Pineapple-Mango Pilaf* w/ Vegetable Casserole, Basil-Infused Quinoa</vt:lpstr>
      <vt:lpstr>Steamed Mussels with Chorizo and White Wine  Toasted Baguette, Cilantro, Steak Fries</vt:lpstr>
      <vt:lpstr>Captain’s Welcome</vt:lpstr>
      <vt:lpstr>White Rum Tapioca Fruit Salad Orange, pineapple, mango, melon, strawberry, toasted coconut</vt:lpstr>
      <vt:lpstr>Chilled Sweet Pea Soup Fresh Tomato, Mini Cheese Bacon Biscuit</vt:lpstr>
      <vt:lpstr>Cal-Mex Burger by Ernesto Uchimura avocado, provolone cheese, poblano chilies, jalapeño aioli, French fries</vt:lpstr>
      <vt:lpstr>Dinner 3</vt:lpstr>
      <vt:lpstr>Bacon-Wrapped Pork Terrine pickled vegetables, whole grain mustard, baguette</vt:lpstr>
      <vt:lpstr>Chimichurri Burger by Ernesto Uchimura sun-dried tomato, provolone cheese, shredded zucchini slaw, French fries</vt:lpstr>
      <vt:lpstr>Chef’s Dinner</vt:lpstr>
      <vt:lpstr>Beef Tenderloin Tips and Mushroom Cobbler carrots, Gruyere biscuits</vt:lpstr>
      <vt:lpstr>Lemon-Rosemary Cornish Game Hen Olive-Feta Relish Crispy Roasted Potato and Peppers</vt:lpstr>
      <vt:lpstr>Backyard Burger by Ernesto Uchimura BBQ glaze, smoked bacon, cotija cheese, onion rings, French fries </vt:lpstr>
      <vt:lpstr>Captain’s Gala</vt:lpstr>
      <vt:lpstr>Lime and Salt-Cured Salmon, Citrus Chili Sauce  crab, shrimp, dill-cucumber salad, crunchy peas</vt:lpstr>
      <vt:lpstr>Lemon Scented Ravioli, Truffle Oil mascarpone, sage-vegetable ragout, carrot emulsion</vt:lpstr>
      <vt:lpstr>Blue Burger by Ernesto Uchimura   blue cheese, port wine onions, arugula, aioli, French fries</vt:lpstr>
      <vt:lpstr>Dinner 2</vt:lpstr>
      <vt:lpstr>Mariner-Style Black Mussels, in White Wine Cream Sauce home-style garlic bread, French fries</vt:lpstr>
      <vt:lpstr>Moroccan-style Meatballs soft-poached egg, tomato ragout, rice &amp; beans</vt:lpstr>
      <vt:lpstr>Ernesto Burger by Ernesto Uchimura gruyere cheese, pork belly, Kimchi, beer battered jalapenos, charred oinion aioli, French fries   </vt:lpstr>
      <vt:lpstr>Italian Dinner</vt:lpstr>
      <vt:lpstr>Seafood Antipasto* shrimp, squid, black mussels, white balsamic pickled vegetables, olive-red pepper spread, Kalamata olives</vt:lpstr>
      <vt:lpstr>Prosciutto Crudo con Melone  dry-cured ham, sweet cantaloupe melon</vt:lpstr>
      <vt:lpstr>(V) Melanzane alla Parmigiana  eggplant, tomato sauce, mozzarella cheese gratin, basil leaves</vt:lpstr>
      <vt:lpstr>(V) Minestrone Soup vegetables, ditalini pasta, basil pesto</vt:lpstr>
      <vt:lpstr>(V) Iced Peach Bellini Soup peach purée and sparkling prosecco</vt:lpstr>
      <vt:lpstr>Mixed Greens, Baby Spinach, Crisp Bacon, Pecorino Cheese and Pine Nuts selection of homemade and low-fat dressings</vt:lpstr>
      <vt:lpstr>Spaghetti con Polpette in Salsa di Pomodoro Fresco spaghetti with meatballs, fresh tomato sauce</vt:lpstr>
      <vt:lpstr>Grilled Salmon Fillet, Eggplant Caponata                                       Swiss chard, saffron-infused potatoes</vt:lpstr>
      <vt:lpstr>Capesante e Gamberi Grigliati, Marinata all'Aglio con Verdure Miste sautéed sea scallops and shrimp, garlic marinade, mixed vegetables, crushed potato</vt:lpstr>
      <vt:lpstr>Scaloppine di Vitello al Marsala veal scallopini, marsala wine sauce, green beans, tomatoes, creamy mashed potatoes</vt:lpstr>
      <vt:lpstr>Brasato di Manzo al Barolo                                                      beef pot roast, barolo wine, Tuscan vegetables, grilled polenta cakes</vt:lpstr>
      <vt:lpstr> Petto di Pollo Ripieno con Crema di Radicchio                                                                                                          breaded chicken breast stuffed with fontina cheese, spinach and mushrooms grilled asparagus, roasted potatoes, radicchio cream</vt:lpstr>
      <vt:lpstr>(V) Cannellini Bean &amp; Vegetable Stew                                 herb-scented polenta</vt:lpstr>
    </vt:vector>
  </TitlesOfParts>
  <Company>Princess Cruis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Dining Room 2018 – 7 Day Menu Cycle Front of House - Dinner 1</dc:title>
  <dc:creator>Reznich, Thai (PCL)</dc:creator>
  <cp:lastModifiedBy>Harker, August (PCL)</cp:lastModifiedBy>
  <cp:revision>72</cp:revision>
  <dcterms:created xsi:type="dcterms:W3CDTF">2018-07-05T15:25:29Z</dcterms:created>
  <dcterms:modified xsi:type="dcterms:W3CDTF">2018-07-20T21:26:27Z</dcterms:modified>
</cp:coreProperties>
</file>